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7" r:id="rId4"/>
    <p:sldMasterId id="2147483857" r:id="rId5"/>
    <p:sldMasterId id="2147483888" r:id="rId6"/>
    <p:sldMasterId id="2147483919" r:id="rId7"/>
  </p:sldMasterIdLst>
  <p:notesMasterIdLst>
    <p:notesMasterId r:id="rId18"/>
  </p:notesMasterIdLst>
  <p:handoutMasterIdLst>
    <p:handoutMasterId r:id="rId19"/>
  </p:handoutMasterIdLst>
  <p:sldIdLst>
    <p:sldId id="307" r:id="rId8"/>
    <p:sldId id="306" r:id="rId9"/>
    <p:sldId id="302" r:id="rId10"/>
    <p:sldId id="311" r:id="rId11"/>
    <p:sldId id="301" r:id="rId12"/>
    <p:sldId id="258" r:id="rId13"/>
    <p:sldId id="260" r:id="rId14"/>
    <p:sldId id="263" r:id="rId15"/>
    <p:sldId id="261" r:id="rId16"/>
    <p:sldId id="259" r:id="rId17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ASHBOARD" id="{89976F01-A1D7-4E95-B12F-577068E4C89F}">
          <p14:sldIdLst>
            <p14:sldId id="307"/>
            <p14:sldId id="306"/>
            <p14:sldId id="302"/>
            <p14:sldId id="311"/>
            <p14:sldId id="301"/>
          </p14:sldIdLst>
        </p14:section>
        <p14:section name="Tables" id="{87416D69-FE67-46C3-8DAB-B46640599577}">
          <p14:sldIdLst>
            <p14:sldId id="258"/>
            <p14:sldId id="260"/>
            <p14:sldId id="263"/>
            <p14:sldId id="261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91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257" userDrawn="1">
          <p15:clr>
            <a:srgbClr val="A4A3A4"/>
          </p15:clr>
        </p15:guide>
        <p15:guide id="9" orient="horz" pos="2160" userDrawn="1">
          <p15:clr>
            <a:srgbClr val="A4A3A4"/>
          </p15:clr>
        </p15:guide>
        <p15:guide id="10" pos="370" userDrawn="1">
          <p15:clr>
            <a:srgbClr val="A4A3A4"/>
          </p15:clr>
        </p15:guide>
        <p15:guide id="11" pos="74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VENCHERE Sandrine" initials="PS" lastIdx="3" clrIdx="0">
    <p:extLst>
      <p:ext uri="{19B8F6BF-5375-455C-9EA6-DF929625EA0E}">
        <p15:presenceInfo xmlns:p15="http://schemas.microsoft.com/office/powerpoint/2012/main" userId="PROVENCHERE Sandri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96B4"/>
    <a:srgbClr val="F9ADB0"/>
    <a:srgbClr val="FAB8BA"/>
    <a:srgbClr val="F99093"/>
    <a:srgbClr val="F9F9F9"/>
    <a:srgbClr val="D4D5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825B95D-54C2-4B80-808B-EC430A6636F0}" v="5709" dt="2021-09-24T09:50:01.8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81" autoAdjust="0"/>
    <p:restoredTop sz="96567" autoAdjust="0"/>
  </p:normalViewPr>
  <p:slideViewPr>
    <p:cSldViewPr snapToGrid="0">
      <p:cViewPr varScale="1">
        <p:scale>
          <a:sx n="110" d="100"/>
          <a:sy n="110" d="100"/>
        </p:scale>
        <p:origin x="132" y="198"/>
      </p:cViewPr>
      <p:guideLst>
        <p:guide orient="horz" pos="391"/>
        <p:guide orient="horz" pos="3974"/>
        <p:guide pos="3840"/>
        <p:guide pos="257"/>
        <p:guide orient="horz" pos="2160"/>
        <p:guide pos="370"/>
        <p:guide pos="74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66"/>
    </p:cViewPr>
  </p:sorterViewPr>
  <p:notesViewPr>
    <p:cSldViewPr snapToGrid="0">
      <p:cViewPr varScale="1">
        <p:scale>
          <a:sx n="85" d="100"/>
          <a:sy n="85" d="100"/>
        </p:scale>
        <p:origin x="30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3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OVENCHERE Sandrine" userId="ad1decff-d2ce-4d29-9d90-3591b80bc438" providerId="ADAL" clId="{B825B95D-54C2-4B80-808B-EC430A6636F0}"/>
    <pc:docChg chg="undo redo custSel modSld">
      <pc:chgData name="PROVENCHERE Sandrine" userId="ad1decff-d2ce-4d29-9d90-3591b80bc438" providerId="ADAL" clId="{B825B95D-54C2-4B80-808B-EC430A6636F0}" dt="2021-09-24T09:50:00.009" v="6954" actId="1076"/>
      <pc:docMkLst>
        <pc:docMk/>
      </pc:docMkLst>
      <pc:sldChg chg="addSp delSp modSp mod">
        <pc:chgData name="PROVENCHERE Sandrine" userId="ad1decff-d2ce-4d29-9d90-3591b80bc438" providerId="ADAL" clId="{B825B95D-54C2-4B80-808B-EC430A6636F0}" dt="2021-09-24T09:50:00.009" v="6954" actId="1076"/>
        <pc:sldMkLst>
          <pc:docMk/>
          <pc:sldMk cId="1940952397" sldId="259"/>
        </pc:sldMkLst>
        <pc:graphicFrameChg chg="add mod">
          <ac:chgData name="PROVENCHERE Sandrine" userId="ad1decff-d2ce-4d29-9d90-3591b80bc438" providerId="ADAL" clId="{B825B95D-54C2-4B80-808B-EC430A6636F0}" dt="2021-09-24T09:50:00.009" v="6954" actId="1076"/>
          <ac:graphicFrameMkLst>
            <pc:docMk/>
            <pc:sldMk cId="1940952397" sldId="259"/>
            <ac:graphicFrameMk id="2" creationId="{2222CA5A-087A-4825-8DE1-CC0366CC0EF7}"/>
          </ac:graphicFrameMkLst>
        </pc:graphicFrameChg>
        <pc:graphicFrameChg chg="del">
          <ac:chgData name="PROVENCHERE Sandrine" userId="ad1decff-d2ce-4d29-9d90-3591b80bc438" providerId="ADAL" clId="{B825B95D-54C2-4B80-808B-EC430A6636F0}" dt="2021-09-21T13:30:06.229" v="4837" actId="478"/>
          <ac:graphicFrameMkLst>
            <pc:docMk/>
            <pc:sldMk cId="1940952397" sldId="259"/>
            <ac:graphicFrameMk id="2" creationId="{E5877AE4-6600-4145-98BF-ABF76F63B7F0}"/>
          </ac:graphicFrameMkLst>
        </pc:graphicFrameChg>
        <pc:graphicFrameChg chg="add del mod">
          <ac:chgData name="PROVENCHERE Sandrine" userId="ad1decff-d2ce-4d29-9d90-3591b80bc438" providerId="ADAL" clId="{B825B95D-54C2-4B80-808B-EC430A6636F0}" dt="2021-09-24T09:49:52.068" v="6941" actId="478"/>
          <ac:graphicFrameMkLst>
            <pc:docMk/>
            <pc:sldMk cId="1940952397" sldId="259"/>
            <ac:graphicFrameMk id="3" creationId="{E50BE3AA-E9D4-4182-A9D1-8703AC89EFFE}"/>
          </ac:graphicFrameMkLst>
        </pc:graphicFrameChg>
      </pc:sldChg>
      <pc:sldChg chg="addSp delSp modSp mod">
        <pc:chgData name="PROVENCHERE Sandrine" userId="ad1decff-d2ce-4d29-9d90-3591b80bc438" providerId="ADAL" clId="{B825B95D-54C2-4B80-808B-EC430A6636F0}" dt="2021-09-21T13:26:01.702" v="4817" actId="1035"/>
        <pc:sldMkLst>
          <pc:docMk/>
          <pc:sldMk cId="4153218655" sldId="260"/>
        </pc:sldMkLst>
        <pc:graphicFrameChg chg="add mod">
          <ac:chgData name="PROVENCHERE Sandrine" userId="ad1decff-d2ce-4d29-9d90-3591b80bc438" providerId="ADAL" clId="{B825B95D-54C2-4B80-808B-EC430A6636F0}" dt="2021-09-21T13:26:01.702" v="4817" actId="1035"/>
          <ac:graphicFrameMkLst>
            <pc:docMk/>
            <pc:sldMk cId="4153218655" sldId="260"/>
            <ac:graphicFrameMk id="3" creationId="{BDC86617-7E8D-4773-B301-8732E94BD272}"/>
          </ac:graphicFrameMkLst>
        </pc:graphicFrameChg>
        <pc:graphicFrameChg chg="del">
          <ac:chgData name="PROVENCHERE Sandrine" userId="ad1decff-d2ce-4d29-9d90-3591b80bc438" providerId="ADAL" clId="{B825B95D-54C2-4B80-808B-EC430A6636F0}" dt="2021-09-21T13:25:33" v="4799" actId="478"/>
          <ac:graphicFrameMkLst>
            <pc:docMk/>
            <pc:sldMk cId="4153218655" sldId="260"/>
            <ac:graphicFrameMk id="4" creationId="{A3B866CF-3E99-47A7-BF78-82CD3541B320}"/>
          </ac:graphicFrameMkLst>
        </pc:graphicFrameChg>
      </pc:sldChg>
      <pc:sldChg chg="addSp delSp modSp mod">
        <pc:chgData name="PROVENCHERE Sandrine" userId="ad1decff-d2ce-4d29-9d90-3591b80bc438" providerId="ADAL" clId="{B825B95D-54C2-4B80-808B-EC430A6636F0}" dt="2021-09-21T13:29:41.167" v="4836" actId="1076"/>
        <pc:sldMkLst>
          <pc:docMk/>
          <pc:sldMk cId="1742461301" sldId="261"/>
        </pc:sldMkLst>
        <pc:graphicFrameChg chg="add mod">
          <ac:chgData name="PROVENCHERE Sandrine" userId="ad1decff-d2ce-4d29-9d90-3591b80bc438" providerId="ADAL" clId="{B825B95D-54C2-4B80-808B-EC430A6636F0}" dt="2021-09-21T13:29:41.167" v="4836" actId="1076"/>
          <ac:graphicFrameMkLst>
            <pc:docMk/>
            <pc:sldMk cId="1742461301" sldId="261"/>
            <ac:graphicFrameMk id="2" creationId="{97CCB0AE-54A4-479A-97B1-F18800D0E3DB}"/>
          </ac:graphicFrameMkLst>
        </pc:graphicFrameChg>
        <pc:graphicFrameChg chg="del">
          <ac:chgData name="PROVENCHERE Sandrine" userId="ad1decff-d2ce-4d29-9d90-3591b80bc438" providerId="ADAL" clId="{B825B95D-54C2-4B80-808B-EC430A6636F0}" dt="2021-09-21T13:29:28.187" v="4832" actId="478"/>
          <ac:graphicFrameMkLst>
            <pc:docMk/>
            <pc:sldMk cId="1742461301" sldId="261"/>
            <ac:graphicFrameMk id="3" creationId="{9AE2B769-3716-45FD-BC98-FE3913978F42}"/>
          </ac:graphicFrameMkLst>
        </pc:graphicFrameChg>
      </pc:sldChg>
      <pc:sldChg chg="addSp delSp modSp mod">
        <pc:chgData name="PROVENCHERE Sandrine" userId="ad1decff-d2ce-4d29-9d90-3591b80bc438" providerId="ADAL" clId="{B825B95D-54C2-4B80-808B-EC430A6636F0}" dt="2021-09-21T13:31:22.023" v="4844"/>
        <pc:sldMkLst>
          <pc:docMk/>
          <pc:sldMk cId="1904957226" sldId="263"/>
        </pc:sldMkLst>
        <pc:graphicFrameChg chg="add del mod">
          <ac:chgData name="PROVENCHERE Sandrine" userId="ad1decff-d2ce-4d29-9d90-3591b80bc438" providerId="ADAL" clId="{B825B95D-54C2-4B80-808B-EC430A6636F0}" dt="2021-09-21T13:26:59.356" v="4825" actId="478"/>
          <ac:graphicFrameMkLst>
            <pc:docMk/>
            <pc:sldMk cId="1904957226" sldId="263"/>
            <ac:graphicFrameMk id="3" creationId="{65B0EE24-F671-4C0A-9090-44EB37D833BF}"/>
          </ac:graphicFrameMkLst>
        </pc:graphicFrameChg>
        <pc:graphicFrameChg chg="del mod">
          <ac:chgData name="PROVENCHERE Sandrine" userId="ad1decff-d2ce-4d29-9d90-3591b80bc438" providerId="ADAL" clId="{B825B95D-54C2-4B80-808B-EC430A6636F0}" dt="2021-09-21T13:26:08.455" v="4819" actId="478"/>
          <ac:graphicFrameMkLst>
            <pc:docMk/>
            <pc:sldMk cId="1904957226" sldId="263"/>
            <ac:graphicFrameMk id="4" creationId="{FC556FE7-38CD-44EF-A933-1879DC2F7D0B}"/>
          </ac:graphicFrameMkLst>
        </pc:graphicFrameChg>
        <pc:graphicFrameChg chg="add del mod">
          <ac:chgData name="PROVENCHERE Sandrine" userId="ad1decff-d2ce-4d29-9d90-3591b80bc438" providerId="ADAL" clId="{B825B95D-54C2-4B80-808B-EC430A6636F0}" dt="2021-09-21T13:29:00.781" v="4829" actId="478"/>
          <ac:graphicFrameMkLst>
            <pc:docMk/>
            <pc:sldMk cId="1904957226" sldId="263"/>
            <ac:graphicFrameMk id="5" creationId="{FD0F13A6-876A-436E-8156-05D68C23C747}"/>
          </ac:graphicFrameMkLst>
        </pc:graphicFrameChg>
        <pc:graphicFrameChg chg="add mod">
          <ac:chgData name="PROVENCHERE Sandrine" userId="ad1decff-d2ce-4d29-9d90-3591b80bc438" providerId="ADAL" clId="{B825B95D-54C2-4B80-808B-EC430A6636F0}" dt="2021-09-21T13:31:22.023" v="4844"/>
          <ac:graphicFrameMkLst>
            <pc:docMk/>
            <pc:sldMk cId="1904957226" sldId="263"/>
            <ac:graphicFrameMk id="9" creationId="{91F45A39-75CB-4602-9896-D9E3C9DA5795}"/>
          </ac:graphicFrameMkLst>
        </pc:graphicFrameChg>
        <pc:picChg chg="add del">
          <ac:chgData name="PROVENCHERE Sandrine" userId="ad1decff-d2ce-4d29-9d90-3591b80bc438" providerId="ADAL" clId="{B825B95D-54C2-4B80-808B-EC430A6636F0}" dt="2021-09-21T13:29:06.011" v="4831" actId="478"/>
          <ac:picMkLst>
            <pc:docMk/>
            <pc:sldMk cId="1904957226" sldId="263"/>
            <ac:picMk id="8" creationId="{76F81FEE-B84A-4BFC-AD78-3FD5E4B7E82A}"/>
          </ac:picMkLst>
        </pc:picChg>
      </pc:sldChg>
      <pc:sldChg chg="addSp delSp modSp mod">
        <pc:chgData name="PROVENCHERE Sandrine" userId="ad1decff-d2ce-4d29-9d90-3591b80bc438" providerId="ADAL" clId="{B825B95D-54C2-4B80-808B-EC430A6636F0}" dt="2021-09-24T09:48:15.116" v="6926" actId="1035"/>
        <pc:sldMkLst>
          <pc:docMk/>
          <pc:sldMk cId="4225315447" sldId="301"/>
        </pc:sldMkLst>
        <pc:spChg chg="mod ord">
          <ac:chgData name="PROVENCHERE Sandrine" userId="ad1decff-d2ce-4d29-9d90-3591b80bc438" providerId="ADAL" clId="{B825B95D-54C2-4B80-808B-EC430A6636F0}" dt="2021-09-24T09:35:58.543" v="6120"/>
          <ac:spMkLst>
            <pc:docMk/>
            <pc:sldMk cId="4225315447" sldId="301"/>
            <ac:spMk id="2" creationId="{F9B1A035-2CF0-4F9D-9E1F-5C99E51D4AFC}"/>
          </ac:spMkLst>
        </pc:spChg>
        <pc:spChg chg="add del mod modVis">
          <ac:chgData name="PROVENCHERE Sandrine" userId="ad1decff-d2ce-4d29-9d90-3591b80bc438" providerId="ADAL" clId="{B825B95D-54C2-4B80-808B-EC430A6636F0}" dt="2021-09-21T12:51:55.785" v="932"/>
          <ac:spMkLst>
            <pc:docMk/>
            <pc:sldMk cId="4225315447" sldId="301"/>
            <ac:spMk id="3" creationId="{52668E54-0C64-413E-B097-78FD18389E98}"/>
          </ac:spMkLst>
        </pc:spChg>
        <pc:spChg chg="add del mod modVis">
          <ac:chgData name="PROVENCHERE Sandrine" userId="ad1decff-d2ce-4d29-9d90-3591b80bc438" providerId="ADAL" clId="{B825B95D-54C2-4B80-808B-EC430A6636F0}" dt="2021-09-24T09:35:55.947" v="6048"/>
          <ac:spMkLst>
            <pc:docMk/>
            <pc:sldMk cId="4225315447" sldId="301"/>
            <ac:spMk id="3" creationId="{F52C0D20-EFA0-47E7-9824-724413F3016C}"/>
          </ac:spMkLst>
        </pc:spChg>
        <pc:spChg chg="add del mod modVis">
          <ac:chgData name="PROVENCHERE Sandrine" userId="ad1decff-d2ce-4d29-9d90-3591b80bc438" providerId="ADAL" clId="{B825B95D-54C2-4B80-808B-EC430A6636F0}" dt="2021-09-24T09:35:58.560" v="6196"/>
          <ac:spMkLst>
            <pc:docMk/>
            <pc:sldMk cId="4225315447" sldId="301"/>
            <ac:spMk id="5" creationId="{90CE083A-3C18-4465-B4D8-B036526A5A28}"/>
          </ac:spMkLst>
        </pc:spChg>
        <pc:spChg chg="mod ord">
          <ac:chgData name="PROVENCHERE Sandrine" userId="ad1decff-d2ce-4d29-9d90-3591b80bc438" providerId="ADAL" clId="{B825B95D-54C2-4B80-808B-EC430A6636F0}" dt="2021-09-24T09:35:58.543" v="6122"/>
          <ac:spMkLst>
            <pc:docMk/>
            <pc:sldMk cId="4225315447" sldId="301"/>
            <ac:spMk id="6" creationId="{FB489620-C6BF-4186-8E3F-F876FA63F9D0}"/>
          </ac:spMkLst>
        </pc:spChg>
        <pc:spChg chg="mod ord">
          <ac:chgData name="PROVENCHERE Sandrine" userId="ad1decff-d2ce-4d29-9d90-3591b80bc438" providerId="ADAL" clId="{B825B95D-54C2-4B80-808B-EC430A6636F0}" dt="2021-09-24T09:35:58.543" v="6124"/>
          <ac:spMkLst>
            <pc:docMk/>
            <pc:sldMk cId="4225315447" sldId="301"/>
            <ac:spMk id="7" creationId="{6745335D-FC8B-48AC-8398-E11E408D4F76}"/>
          </ac:spMkLst>
        </pc:spChg>
        <pc:spChg chg="mod ord">
          <ac:chgData name="PROVENCHERE Sandrine" userId="ad1decff-d2ce-4d29-9d90-3591b80bc438" providerId="ADAL" clId="{B825B95D-54C2-4B80-808B-EC430A6636F0}" dt="2021-09-24T09:35:58.559" v="6172"/>
          <ac:spMkLst>
            <pc:docMk/>
            <pc:sldMk cId="4225315447" sldId="301"/>
            <ac:spMk id="14" creationId="{9D549740-A941-4BE6-91AB-10114099C5D3}"/>
          </ac:spMkLst>
        </pc:spChg>
        <pc:spChg chg="add mod">
          <ac:chgData name="PROVENCHERE Sandrine" userId="ad1decff-d2ce-4d29-9d90-3591b80bc438" providerId="ADAL" clId="{B825B95D-54C2-4B80-808B-EC430A6636F0}" dt="2021-09-24T09:35:58.543" v="6158"/>
          <ac:spMkLst>
            <pc:docMk/>
            <pc:sldMk cId="4225315447" sldId="301"/>
            <ac:spMk id="57" creationId="{1300E904-A8F1-4377-9F2D-F483EAFE65FF}"/>
          </ac:spMkLst>
        </pc:spChg>
        <pc:spChg chg="mod ord">
          <ac:chgData name="PROVENCHERE Sandrine" userId="ad1decff-d2ce-4d29-9d90-3591b80bc438" providerId="ADAL" clId="{B825B95D-54C2-4B80-808B-EC430A6636F0}" dt="2021-09-24T09:48:11.871" v="6922" actId="1035"/>
          <ac:spMkLst>
            <pc:docMk/>
            <pc:sldMk cId="4225315447" sldId="301"/>
            <ac:spMk id="71" creationId="{EC6758B0-B622-4FC5-A398-E5DF4655F1C2}"/>
          </ac:spMkLst>
        </pc:spChg>
        <pc:spChg chg="mod ord">
          <ac:chgData name="PROVENCHERE Sandrine" userId="ad1decff-d2ce-4d29-9d90-3591b80bc438" providerId="ADAL" clId="{B825B95D-54C2-4B80-808B-EC430A6636F0}" dt="2021-09-24T09:35:58.542" v="6112"/>
          <ac:spMkLst>
            <pc:docMk/>
            <pc:sldMk cId="4225315447" sldId="301"/>
            <ac:spMk id="95" creationId="{95EFB8ED-8525-44D3-81E0-0D09718A157A}"/>
          </ac:spMkLst>
        </pc:spChg>
        <pc:spChg chg="mod ord">
          <ac:chgData name="PROVENCHERE Sandrine" userId="ad1decff-d2ce-4d29-9d90-3591b80bc438" providerId="ADAL" clId="{B825B95D-54C2-4B80-808B-EC430A6636F0}" dt="2021-09-24T09:35:58.559" v="6168"/>
          <ac:spMkLst>
            <pc:docMk/>
            <pc:sldMk cId="4225315447" sldId="301"/>
            <ac:spMk id="98" creationId="{F0937B19-5489-4B9E-A69B-119AB1EA458D}"/>
          </ac:spMkLst>
        </pc:spChg>
        <pc:spChg chg="mod ord">
          <ac:chgData name="PROVENCHERE Sandrine" userId="ad1decff-d2ce-4d29-9d90-3591b80bc438" providerId="ADAL" clId="{B825B95D-54C2-4B80-808B-EC430A6636F0}" dt="2021-09-24T09:35:58.559" v="6170"/>
          <ac:spMkLst>
            <pc:docMk/>
            <pc:sldMk cId="4225315447" sldId="301"/>
            <ac:spMk id="99" creationId="{49164E85-8617-4DC4-BD6B-C8C57128CE6D}"/>
          </ac:spMkLst>
        </pc:spChg>
        <pc:spChg chg="mod">
          <ac:chgData name="PROVENCHERE Sandrine" userId="ad1decff-d2ce-4d29-9d90-3591b80bc438" providerId="ADAL" clId="{B825B95D-54C2-4B80-808B-EC430A6636F0}" dt="2021-09-24T09:35:58.543" v="6139"/>
          <ac:spMkLst>
            <pc:docMk/>
            <pc:sldMk cId="4225315447" sldId="301"/>
            <ac:spMk id="129" creationId="{5B7059E9-43A6-4A6A-A599-97632AE01570}"/>
          </ac:spMkLst>
        </pc:spChg>
        <pc:spChg chg="mod ord">
          <ac:chgData name="PROVENCHERE Sandrine" userId="ad1decff-d2ce-4d29-9d90-3591b80bc438" providerId="ADAL" clId="{B825B95D-54C2-4B80-808B-EC430A6636F0}" dt="2021-09-24T09:35:58.543" v="6134"/>
          <ac:spMkLst>
            <pc:docMk/>
            <pc:sldMk cId="4225315447" sldId="301"/>
            <ac:spMk id="133" creationId="{4831262B-A26E-47A5-A286-710C146AE50D}"/>
          </ac:spMkLst>
        </pc:spChg>
        <pc:spChg chg="mod ord">
          <ac:chgData name="PROVENCHERE Sandrine" userId="ad1decff-d2ce-4d29-9d90-3591b80bc438" providerId="ADAL" clId="{B825B95D-54C2-4B80-808B-EC430A6636F0}" dt="2021-09-24T09:35:58.543" v="6130"/>
          <ac:spMkLst>
            <pc:docMk/>
            <pc:sldMk cId="4225315447" sldId="301"/>
            <ac:spMk id="145" creationId="{FCA74808-F434-4FB1-BE5E-2F031EAA0FDE}"/>
          </ac:spMkLst>
        </pc:spChg>
        <pc:spChg chg="mod">
          <ac:chgData name="PROVENCHERE Sandrine" userId="ad1decff-d2ce-4d29-9d90-3591b80bc438" providerId="ADAL" clId="{B825B95D-54C2-4B80-808B-EC430A6636F0}" dt="2021-09-24T09:35:58.543" v="6136"/>
          <ac:spMkLst>
            <pc:docMk/>
            <pc:sldMk cId="4225315447" sldId="301"/>
            <ac:spMk id="147" creationId="{A6A6738F-F0E0-486F-9139-0830926B3AD9}"/>
          </ac:spMkLst>
        </pc:spChg>
        <pc:spChg chg="mod">
          <ac:chgData name="PROVENCHERE Sandrine" userId="ad1decff-d2ce-4d29-9d90-3591b80bc438" providerId="ADAL" clId="{B825B95D-54C2-4B80-808B-EC430A6636F0}" dt="2021-09-24T09:35:58.543" v="6137"/>
          <ac:spMkLst>
            <pc:docMk/>
            <pc:sldMk cId="4225315447" sldId="301"/>
            <ac:spMk id="148" creationId="{BBBED07B-9BF3-49F2-B15C-32DE30829C4F}"/>
          </ac:spMkLst>
        </pc:spChg>
        <pc:spChg chg="mod">
          <ac:chgData name="PROVENCHERE Sandrine" userId="ad1decff-d2ce-4d29-9d90-3591b80bc438" providerId="ADAL" clId="{B825B95D-54C2-4B80-808B-EC430A6636F0}" dt="2021-09-24T09:35:58.543" v="6138"/>
          <ac:spMkLst>
            <pc:docMk/>
            <pc:sldMk cId="4225315447" sldId="301"/>
            <ac:spMk id="150" creationId="{5FF19DBF-43B9-4F47-88D6-892CEA366C21}"/>
          </ac:spMkLst>
        </pc:spChg>
        <pc:spChg chg="mod">
          <ac:chgData name="PROVENCHERE Sandrine" userId="ad1decff-d2ce-4d29-9d90-3591b80bc438" providerId="ADAL" clId="{B825B95D-54C2-4B80-808B-EC430A6636F0}" dt="2021-09-24T09:35:58.543" v="6140"/>
          <ac:spMkLst>
            <pc:docMk/>
            <pc:sldMk cId="4225315447" sldId="301"/>
            <ac:spMk id="151" creationId="{D886DA7A-7E73-490B-A584-A4D185A304C9}"/>
          </ac:spMkLst>
        </pc:spChg>
        <pc:spChg chg="mod">
          <ac:chgData name="PROVENCHERE Sandrine" userId="ad1decff-d2ce-4d29-9d90-3591b80bc438" providerId="ADAL" clId="{B825B95D-54C2-4B80-808B-EC430A6636F0}" dt="2021-09-24T09:35:58.543" v="6141"/>
          <ac:spMkLst>
            <pc:docMk/>
            <pc:sldMk cId="4225315447" sldId="301"/>
            <ac:spMk id="155" creationId="{1E03B198-07C0-4269-95E4-B461A9DFB222}"/>
          </ac:spMkLst>
        </pc:spChg>
        <pc:spChg chg="mod">
          <ac:chgData name="PROVENCHERE Sandrine" userId="ad1decff-d2ce-4d29-9d90-3591b80bc438" providerId="ADAL" clId="{B825B95D-54C2-4B80-808B-EC430A6636F0}" dt="2021-09-24T09:35:58.543" v="6142"/>
          <ac:spMkLst>
            <pc:docMk/>
            <pc:sldMk cId="4225315447" sldId="301"/>
            <ac:spMk id="156" creationId="{ACAE95C9-3B62-45D6-B8CC-694C1F63E976}"/>
          </ac:spMkLst>
        </pc:spChg>
        <pc:spChg chg="mod">
          <ac:chgData name="PROVENCHERE Sandrine" userId="ad1decff-d2ce-4d29-9d90-3591b80bc438" providerId="ADAL" clId="{B825B95D-54C2-4B80-808B-EC430A6636F0}" dt="2021-09-24T09:35:58.543" v="6143"/>
          <ac:spMkLst>
            <pc:docMk/>
            <pc:sldMk cId="4225315447" sldId="301"/>
            <ac:spMk id="157" creationId="{6DDBECF7-8C5D-4120-9EF0-E8D640FB88FF}"/>
          </ac:spMkLst>
        </pc:spChg>
        <pc:spChg chg="mod">
          <ac:chgData name="PROVENCHERE Sandrine" userId="ad1decff-d2ce-4d29-9d90-3591b80bc438" providerId="ADAL" clId="{B825B95D-54C2-4B80-808B-EC430A6636F0}" dt="2021-09-24T09:35:58.543" v="6144"/>
          <ac:spMkLst>
            <pc:docMk/>
            <pc:sldMk cId="4225315447" sldId="301"/>
            <ac:spMk id="158" creationId="{B3473F50-670B-43ED-AF3C-72A60F9C0F21}"/>
          </ac:spMkLst>
        </pc:spChg>
        <pc:spChg chg="mod">
          <ac:chgData name="PROVENCHERE Sandrine" userId="ad1decff-d2ce-4d29-9d90-3591b80bc438" providerId="ADAL" clId="{B825B95D-54C2-4B80-808B-EC430A6636F0}" dt="2021-09-24T09:35:58.543" v="6146"/>
          <ac:spMkLst>
            <pc:docMk/>
            <pc:sldMk cId="4225315447" sldId="301"/>
            <ac:spMk id="160" creationId="{F294ACFE-BD76-4FF7-9600-C2A421E2AB21}"/>
          </ac:spMkLst>
        </pc:spChg>
        <pc:spChg chg="mod">
          <ac:chgData name="PROVENCHERE Sandrine" userId="ad1decff-d2ce-4d29-9d90-3591b80bc438" providerId="ADAL" clId="{B825B95D-54C2-4B80-808B-EC430A6636F0}" dt="2021-09-24T09:35:58.543" v="6147"/>
          <ac:spMkLst>
            <pc:docMk/>
            <pc:sldMk cId="4225315447" sldId="301"/>
            <ac:spMk id="161" creationId="{37A5F7BA-13A2-4C54-B62A-A9E8A6C14D45}"/>
          </ac:spMkLst>
        </pc:spChg>
        <pc:spChg chg="mod">
          <ac:chgData name="PROVENCHERE Sandrine" userId="ad1decff-d2ce-4d29-9d90-3591b80bc438" providerId="ADAL" clId="{B825B95D-54C2-4B80-808B-EC430A6636F0}" dt="2021-09-24T09:35:58.543" v="6149"/>
          <ac:spMkLst>
            <pc:docMk/>
            <pc:sldMk cId="4225315447" sldId="301"/>
            <ac:spMk id="162" creationId="{A5B439A7-DF17-413E-B1D8-A0ECCF4FE4CE}"/>
          </ac:spMkLst>
        </pc:spChg>
        <pc:spChg chg="mod">
          <ac:chgData name="PROVENCHERE Sandrine" userId="ad1decff-d2ce-4d29-9d90-3591b80bc438" providerId="ADAL" clId="{B825B95D-54C2-4B80-808B-EC430A6636F0}" dt="2021-09-24T09:35:58.543" v="6151"/>
          <ac:spMkLst>
            <pc:docMk/>
            <pc:sldMk cId="4225315447" sldId="301"/>
            <ac:spMk id="163" creationId="{718627F3-50D9-4D97-80C1-DD26C7D4B8C0}"/>
          </ac:spMkLst>
        </pc:spChg>
        <pc:spChg chg="mod">
          <ac:chgData name="PROVENCHERE Sandrine" userId="ad1decff-d2ce-4d29-9d90-3591b80bc438" providerId="ADAL" clId="{B825B95D-54C2-4B80-808B-EC430A6636F0}" dt="2021-09-24T09:35:58.543" v="6153"/>
          <ac:spMkLst>
            <pc:docMk/>
            <pc:sldMk cId="4225315447" sldId="301"/>
            <ac:spMk id="164" creationId="{AFD30AB5-9152-4985-8BFC-2F06F5ADED9A}"/>
          </ac:spMkLst>
        </pc:spChg>
        <pc:spChg chg="mod">
          <ac:chgData name="PROVENCHERE Sandrine" userId="ad1decff-d2ce-4d29-9d90-3591b80bc438" providerId="ADAL" clId="{B825B95D-54C2-4B80-808B-EC430A6636F0}" dt="2021-09-24T09:35:58.543" v="6150"/>
          <ac:spMkLst>
            <pc:docMk/>
            <pc:sldMk cId="4225315447" sldId="301"/>
            <ac:spMk id="168" creationId="{AAD17029-FDDA-448C-BF13-577BA6F74FD2}"/>
          </ac:spMkLst>
        </pc:spChg>
        <pc:spChg chg="mod">
          <ac:chgData name="PROVENCHERE Sandrine" userId="ad1decff-d2ce-4d29-9d90-3591b80bc438" providerId="ADAL" clId="{B825B95D-54C2-4B80-808B-EC430A6636F0}" dt="2021-09-24T09:35:58.543" v="6152"/>
          <ac:spMkLst>
            <pc:docMk/>
            <pc:sldMk cId="4225315447" sldId="301"/>
            <ac:spMk id="169" creationId="{E78AAA22-A149-4799-A10A-F9288E5F9E8F}"/>
          </ac:spMkLst>
        </pc:spChg>
        <pc:spChg chg="mod">
          <ac:chgData name="PROVENCHERE Sandrine" userId="ad1decff-d2ce-4d29-9d90-3591b80bc438" providerId="ADAL" clId="{B825B95D-54C2-4B80-808B-EC430A6636F0}" dt="2021-09-24T09:35:58.543" v="6155"/>
          <ac:spMkLst>
            <pc:docMk/>
            <pc:sldMk cId="4225315447" sldId="301"/>
            <ac:spMk id="170" creationId="{52621BC1-C784-4FEC-AE44-5A8556A007CE}"/>
          </ac:spMkLst>
        </pc:spChg>
        <pc:spChg chg="mod">
          <ac:chgData name="PROVENCHERE Sandrine" userId="ad1decff-d2ce-4d29-9d90-3591b80bc438" providerId="ADAL" clId="{B825B95D-54C2-4B80-808B-EC430A6636F0}" dt="2021-09-24T09:35:58.543" v="6156"/>
          <ac:spMkLst>
            <pc:docMk/>
            <pc:sldMk cId="4225315447" sldId="301"/>
            <ac:spMk id="173" creationId="{E3455FAA-AD84-4AAE-88E7-1667E73AB419}"/>
          </ac:spMkLst>
        </pc:spChg>
        <pc:spChg chg="mod">
          <ac:chgData name="PROVENCHERE Sandrine" userId="ad1decff-d2ce-4d29-9d90-3591b80bc438" providerId="ADAL" clId="{B825B95D-54C2-4B80-808B-EC430A6636F0}" dt="2021-09-24T09:35:58.543" v="6157"/>
          <ac:spMkLst>
            <pc:docMk/>
            <pc:sldMk cId="4225315447" sldId="301"/>
            <ac:spMk id="174" creationId="{EFD6BCAC-30FB-4CF2-A00A-EDF32F55B264}"/>
          </ac:spMkLst>
        </pc:spChg>
        <pc:spChg chg="mod ord">
          <ac:chgData name="PROVENCHERE Sandrine" userId="ad1decff-d2ce-4d29-9d90-3591b80bc438" providerId="ADAL" clId="{B825B95D-54C2-4B80-808B-EC430A6636F0}" dt="2021-09-24T09:35:58.543" v="6160"/>
          <ac:spMkLst>
            <pc:docMk/>
            <pc:sldMk cId="4225315447" sldId="301"/>
            <ac:spMk id="178" creationId="{F48AE032-8349-4D23-AA1B-0CB2DFBBA03D}"/>
          </ac:spMkLst>
        </pc:spChg>
        <pc:spChg chg="mod">
          <ac:chgData name="PROVENCHERE Sandrine" userId="ad1decff-d2ce-4d29-9d90-3591b80bc438" providerId="ADAL" clId="{B825B95D-54C2-4B80-808B-EC430A6636F0}" dt="2021-09-24T09:35:58.543" v="6154"/>
          <ac:spMkLst>
            <pc:docMk/>
            <pc:sldMk cId="4225315447" sldId="301"/>
            <ac:spMk id="218" creationId="{B22116CF-A9AF-423C-893C-FDD7D90CA7D3}"/>
          </ac:spMkLst>
        </pc:spChg>
        <pc:spChg chg="mod">
          <ac:chgData name="PROVENCHERE Sandrine" userId="ad1decff-d2ce-4d29-9d90-3591b80bc438" providerId="ADAL" clId="{B825B95D-54C2-4B80-808B-EC430A6636F0}" dt="2021-09-24T09:35:58.543" v="6148"/>
          <ac:spMkLst>
            <pc:docMk/>
            <pc:sldMk cId="4225315447" sldId="301"/>
            <ac:spMk id="223" creationId="{84A01702-8DB0-42AE-9C4B-F8980921E941}"/>
          </ac:spMkLst>
        </pc:spChg>
        <pc:spChg chg="mod ord">
          <ac:chgData name="PROVENCHERE Sandrine" userId="ad1decff-d2ce-4d29-9d90-3591b80bc438" providerId="ADAL" clId="{B825B95D-54C2-4B80-808B-EC430A6636F0}" dt="2021-09-24T09:48:15.116" v="6926" actId="1035"/>
          <ac:spMkLst>
            <pc:docMk/>
            <pc:sldMk cId="4225315447" sldId="301"/>
            <ac:spMk id="273" creationId="{ECCFAE51-245D-4D55-81AD-B97B1FD81D3E}"/>
          </ac:spMkLst>
        </pc:spChg>
        <pc:spChg chg="mod ord">
          <ac:chgData name="PROVENCHERE Sandrine" userId="ad1decff-d2ce-4d29-9d90-3591b80bc438" providerId="ADAL" clId="{B825B95D-54C2-4B80-808B-EC430A6636F0}" dt="2021-09-24T09:35:58.560" v="6188"/>
          <ac:spMkLst>
            <pc:docMk/>
            <pc:sldMk cId="4225315447" sldId="301"/>
            <ac:spMk id="274" creationId="{77D109C9-1C0C-4449-984E-E7DA0AA3F340}"/>
          </ac:spMkLst>
        </pc:spChg>
        <pc:spChg chg="mod ord">
          <ac:chgData name="PROVENCHERE Sandrine" userId="ad1decff-d2ce-4d29-9d90-3591b80bc438" providerId="ADAL" clId="{B825B95D-54C2-4B80-808B-EC430A6636F0}" dt="2021-09-24T09:35:58.543" v="6126"/>
          <ac:spMkLst>
            <pc:docMk/>
            <pc:sldMk cId="4225315447" sldId="301"/>
            <ac:spMk id="739" creationId="{33C78E60-2E06-449B-AF6E-274549A09B03}"/>
          </ac:spMkLst>
        </pc:spChg>
        <pc:spChg chg="mod ord">
          <ac:chgData name="PROVENCHERE Sandrine" userId="ad1decff-d2ce-4d29-9d90-3591b80bc438" providerId="ADAL" clId="{B825B95D-54C2-4B80-808B-EC430A6636F0}" dt="2021-09-24T09:35:58.543" v="6128"/>
          <ac:spMkLst>
            <pc:docMk/>
            <pc:sldMk cId="4225315447" sldId="301"/>
            <ac:spMk id="742" creationId="{ABC18BB4-82C9-4223-AAD8-AE0995D1758D}"/>
          </ac:spMkLst>
        </pc:spChg>
        <pc:spChg chg="mod ord">
          <ac:chgData name="PROVENCHERE Sandrine" userId="ad1decff-d2ce-4d29-9d90-3591b80bc438" providerId="ADAL" clId="{B825B95D-54C2-4B80-808B-EC430A6636F0}" dt="2021-09-24T09:35:58.543" v="6118"/>
          <ac:spMkLst>
            <pc:docMk/>
            <pc:sldMk cId="4225315447" sldId="301"/>
            <ac:spMk id="870" creationId="{C75659F7-9CB2-4887-8A0C-810962CD176B}"/>
          </ac:spMkLst>
        </pc:spChg>
        <pc:spChg chg="mod ord">
          <ac:chgData name="PROVENCHERE Sandrine" userId="ad1decff-d2ce-4d29-9d90-3591b80bc438" providerId="ADAL" clId="{B825B95D-54C2-4B80-808B-EC430A6636F0}" dt="2021-09-24T09:35:58.543" v="6116"/>
          <ac:spMkLst>
            <pc:docMk/>
            <pc:sldMk cId="4225315447" sldId="301"/>
            <ac:spMk id="871" creationId="{64210237-1B7A-4D9A-8DEF-E0D7D025F0C2}"/>
          </ac:spMkLst>
        </pc:spChg>
        <pc:graphicFrameChg chg="mod ord">
          <ac:chgData name="PROVENCHERE Sandrine" userId="ad1decff-d2ce-4d29-9d90-3591b80bc438" providerId="ADAL" clId="{B825B95D-54C2-4B80-808B-EC430A6636F0}" dt="2021-09-24T09:35:58.560" v="6194"/>
          <ac:graphicFrameMkLst>
            <pc:docMk/>
            <pc:sldMk cId="4225315447" sldId="301"/>
            <ac:graphicFrameMk id="4" creationId="{6E8EE4CC-61BB-412B-B12B-EF3FC7874D07}"/>
          </ac:graphicFrameMkLst>
        </pc:graphicFrameChg>
        <pc:graphicFrameChg chg="add del mod">
          <ac:chgData name="PROVENCHERE Sandrine" userId="ad1decff-d2ce-4d29-9d90-3591b80bc438" providerId="ADAL" clId="{B825B95D-54C2-4B80-808B-EC430A6636F0}" dt="2021-09-24T09:35:55.883" v="5957"/>
          <ac:graphicFrameMkLst>
            <pc:docMk/>
            <pc:sldMk cId="4225315447" sldId="301"/>
            <ac:graphicFrameMk id="58" creationId="{9126A168-8C03-488E-B178-98CC22903584}"/>
          </ac:graphicFrameMkLst>
        </pc:graphicFrameChg>
        <pc:graphicFrameChg chg="add del mod">
          <ac:chgData name="PROVENCHERE Sandrine" userId="ad1decff-d2ce-4d29-9d90-3591b80bc438" providerId="ADAL" clId="{B825B95D-54C2-4B80-808B-EC430A6636F0}" dt="2021-09-24T09:35:58.496" v="6105"/>
          <ac:graphicFrameMkLst>
            <pc:docMk/>
            <pc:sldMk cId="4225315447" sldId="301"/>
            <ac:graphicFrameMk id="59" creationId="{0FB20809-EDCD-409A-AF87-D3B06907CEF8}"/>
          </ac:graphicFrameMkLst>
        </pc:graphicFrameChg>
        <pc:graphicFrameChg chg="add mod">
          <ac:chgData name="PROVENCHERE Sandrine" userId="ad1decff-d2ce-4d29-9d90-3591b80bc438" providerId="ADAL" clId="{B825B95D-54C2-4B80-808B-EC430A6636F0}" dt="2021-09-24T09:35:58.543" v="6145"/>
          <ac:graphicFrameMkLst>
            <pc:docMk/>
            <pc:sldMk cId="4225315447" sldId="301"/>
            <ac:graphicFrameMk id="60" creationId="{956CC889-5057-4EED-8A28-7F2E31FD538D}"/>
          </ac:graphicFrameMkLst>
        </pc:graphicFrameChg>
        <pc:graphicFrameChg chg="add mod modGraphic">
          <ac:chgData name="PROVENCHERE Sandrine" userId="ad1decff-d2ce-4d29-9d90-3591b80bc438" providerId="ADAL" clId="{B825B95D-54C2-4B80-808B-EC430A6636F0}" dt="2021-09-24T09:48:11.871" v="6922" actId="1035"/>
          <ac:graphicFrameMkLst>
            <pc:docMk/>
            <pc:sldMk cId="4225315447" sldId="301"/>
            <ac:graphicFrameMk id="61" creationId="{5A0DE4C8-10F2-408F-9376-9CEC0A9D0196}"/>
          </ac:graphicFrameMkLst>
        </pc:graphicFrameChg>
        <pc:graphicFrameChg chg="mod">
          <ac:chgData name="PROVENCHERE Sandrine" userId="ad1decff-d2ce-4d29-9d90-3591b80bc438" providerId="ADAL" clId="{B825B95D-54C2-4B80-808B-EC430A6636F0}" dt="2021-09-24T09:35:58.543" v="6135"/>
          <ac:graphicFrameMkLst>
            <pc:docMk/>
            <pc:sldMk cId="4225315447" sldId="301"/>
            <ac:graphicFrameMk id="85" creationId="{D005E495-3C1E-48F6-B7AC-3611ED180AC0}"/>
          </ac:graphicFrameMkLst>
        </pc:graphicFrameChg>
        <pc:graphicFrameChg chg="del">
          <ac:chgData name="PROVENCHERE Sandrine" userId="ad1decff-d2ce-4d29-9d90-3591b80bc438" providerId="ADAL" clId="{B825B95D-54C2-4B80-808B-EC430A6636F0}" dt="2021-09-21T12:51:55.715" v="841"/>
          <ac:graphicFrameMkLst>
            <pc:docMk/>
            <pc:sldMk cId="4225315447" sldId="301"/>
            <ac:graphicFrameMk id="87" creationId="{51789C5A-C593-4AA9-9EB8-5B66CB6E400D}"/>
          </ac:graphicFrameMkLst>
        </pc:graphicFrameChg>
        <pc:graphicFrameChg chg="mod">
          <ac:chgData name="PROVENCHERE Sandrine" userId="ad1decff-d2ce-4d29-9d90-3591b80bc438" providerId="ADAL" clId="{B825B95D-54C2-4B80-808B-EC430A6636F0}" dt="2021-09-24T09:35:58.560" v="6198"/>
          <ac:graphicFrameMkLst>
            <pc:docMk/>
            <pc:sldMk cId="4225315447" sldId="301"/>
            <ac:graphicFrameMk id="100" creationId="{8589F35F-0A8D-4311-B1FF-908064655556}"/>
          </ac:graphicFrameMkLst>
        </pc:graphicFrameChg>
        <pc:picChg chg="mod ord">
          <ac:chgData name="PROVENCHERE Sandrine" userId="ad1decff-d2ce-4d29-9d90-3591b80bc438" providerId="ADAL" clId="{B825B95D-54C2-4B80-808B-EC430A6636F0}" dt="2021-09-24T09:35:58.560" v="6192"/>
          <ac:picMkLst>
            <pc:docMk/>
            <pc:sldMk cId="4225315447" sldId="301"/>
            <ac:picMk id="8" creationId="{3EB51A7A-F92D-4B4C-86AC-3B3043B9CC88}"/>
          </ac:picMkLst>
        </pc:picChg>
        <pc:picChg chg="mod ord">
          <ac:chgData name="PROVENCHERE Sandrine" userId="ad1decff-d2ce-4d29-9d90-3591b80bc438" providerId="ADAL" clId="{B825B95D-54C2-4B80-808B-EC430A6636F0}" dt="2021-09-24T09:35:58.560" v="6176"/>
          <ac:picMkLst>
            <pc:docMk/>
            <pc:sldMk cId="4225315447" sldId="301"/>
            <ac:picMk id="102" creationId="{ADAB5243-799D-430E-968D-3F885EFE4B0F}"/>
          </ac:picMkLst>
        </pc:picChg>
        <pc:picChg chg="mod ord">
          <ac:chgData name="PROVENCHERE Sandrine" userId="ad1decff-d2ce-4d29-9d90-3591b80bc438" providerId="ADAL" clId="{B825B95D-54C2-4B80-808B-EC430A6636F0}" dt="2021-09-24T09:48:11.871" v="6922" actId="1035"/>
          <ac:picMkLst>
            <pc:docMk/>
            <pc:sldMk cId="4225315447" sldId="301"/>
            <ac:picMk id="103" creationId="{796BCA53-CE98-4823-A0B6-E73339B26374}"/>
          </ac:picMkLst>
        </pc:picChg>
        <pc:picChg chg="mod ord">
          <ac:chgData name="PROVENCHERE Sandrine" userId="ad1decff-d2ce-4d29-9d90-3591b80bc438" providerId="ADAL" clId="{B825B95D-54C2-4B80-808B-EC430A6636F0}" dt="2021-09-24T09:35:58.543" v="6132"/>
          <ac:picMkLst>
            <pc:docMk/>
            <pc:sldMk cId="4225315447" sldId="301"/>
            <ac:picMk id="149" creationId="{2BA8DE92-6738-4C04-AE1A-247FB8844C8B}"/>
          </ac:picMkLst>
        </pc:picChg>
        <pc:picChg chg="mod ord">
          <ac:chgData name="PROVENCHERE Sandrine" userId="ad1decff-d2ce-4d29-9d90-3591b80bc438" providerId="ADAL" clId="{B825B95D-54C2-4B80-808B-EC430A6636F0}" dt="2021-09-24T09:35:58.543" v="6162"/>
          <ac:picMkLst>
            <pc:docMk/>
            <pc:sldMk cId="4225315447" sldId="301"/>
            <ac:picMk id="183" creationId="{0961CF9C-5EEE-4B4E-A048-A7BF5CDF0EB1}"/>
          </ac:picMkLst>
        </pc:picChg>
        <pc:picChg chg="mod ord">
          <ac:chgData name="PROVENCHERE Sandrine" userId="ad1decff-d2ce-4d29-9d90-3591b80bc438" providerId="ADAL" clId="{B825B95D-54C2-4B80-808B-EC430A6636F0}" dt="2021-09-24T09:35:58.543" v="6164"/>
          <ac:picMkLst>
            <pc:docMk/>
            <pc:sldMk cId="4225315447" sldId="301"/>
            <ac:picMk id="184" creationId="{D03C2D69-7F94-4528-80D7-F007ADB06DA0}"/>
          </ac:picMkLst>
        </pc:picChg>
        <pc:picChg chg="mod ord">
          <ac:chgData name="PROVENCHERE Sandrine" userId="ad1decff-d2ce-4d29-9d90-3591b80bc438" providerId="ADAL" clId="{B825B95D-54C2-4B80-808B-EC430A6636F0}" dt="2021-09-24T09:35:58.543" v="6114"/>
          <ac:picMkLst>
            <pc:docMk/>
            <pc:sldMk cId="4225315447" sldId="301"/>
            <ac:picMk id="869" creationId="{ACF24F4C-AA51-48A3-9BBB-F7448B2C06B3}"/>
          </ac:picMkLst>
        </pc:picChg>
        <pc:cxnChg chg="mod ord">
          <ac:chgData name="PROVENCHERE Sandrine" userId="ad1decff-d2ce-4d29-9d90-3591b80bc438" providerId="ADAL" clId="{B825B95D-54C2-4B80-808B-EC430A6636F0}" dt="2021-09-24T09:35:58.560" v="6180"/>
          <ac:cxnSpMkLst>
            <pc:docMk/>
            <pc:sldMk cId="4225315447" sldId="301"/>
            <ac:cxnSpMk id="16" creationId="{D61B3765-AA7C-46B6-9B34-B8DC253EF02B}"/>
          </ac:cxnSpMkLst>
        </pc:cxnChg>
        <pc:cxnChg chg="mod ord">
          <ac:chgData name="PROVENCHERE Sandrine" userId="ad1decff-d2ce-4d29-9d90-3591b80bc438" providerId="ADAL" clId="{B825B95D-54C2-4B80-808B-EC430A6636F0}" dt="2021-09-24T09:35:58.560" v="6174"/>
          <ac:cxnSpMkLst>
            <pc:docMk/>
            <pc:sldMk cId="4225315447" sldId="301"/>
            <ac:cxnSpMk id="101" creationId="{31F5732E-830B-4973-8237-9325C166A666}"/>
          </ac:cxnSpMkLst>
        </pc:cxnChg>
        <pc:cxnChg chg="mod ord">
          <ac:chgData name="PROVENCHERE Sandrine" userId="ad1decff-d2ce-4d29-9d90-3591b80bc438" providerId="ADAL" clId="{B825B95D-54C2-4B80-808B-EC430A6636F0}" dt="2021-09-24T09:35:58.558" v="6166"/>
          <ac:cxnSpMkLst>
            <pc:docMk/>
            <pc:sldMk cId="4225315447" sldId="301"/>
            <ac:cxnSpMk id="185" creationId="{8E070C81-7978-4428-802F-E547D5658686}"/>
          </ac:cxnSpMkLst>
        </pc:cxnChg>
        <pc:cxnChg chg="mod ord">
          <ac:chgData name="PROVENCHERE Sandrine" userId="ad1decff-d2ce-4d29-9d90-3591b80bc438" providerId="ADAL" clId="{B825B95D-54C2-4B80-808B-EC430A6636F0}" dt="2021-09-24T09:35:58.560" v="6182"/>
          <ac:cxnSpMkLst>
            <pc:docMk/>
            <pc:sldMk cId="4225315447" sldId="301"/>
            <ac:cxnSpMk id="271" creationId="{43995405-9F1C-413F-BAE8-4B292BEE38A3}"/>
          </ac:cxnSpMkLst>
        </pc:cxnChg>
        <pc:cxnChg chg="mod ord">
          <ac:chgData name="PROVENCHERE Sandrine" userId="ad1decff-d2ce-4d29-9d90-3591b80bc438" providerId="ADAL" clId="{B825B95D-54C2-4B80-808B-EC430A6636F0}" dt="2021-09-24T09:35:58.560" v="6184"/>
          <ac:cxnSpMkLst>
            <pc:docMk/>
            <pc:sldMk cId="4225315447" sldId="301"/>
            <ac:cxnSpMk id="272" creationId="{0B8BD528-A892-4230-812F-CE7BBF389505}"/>
          </ac:cxnSpMkLst>
        </pc:cxnChg>
      </pc:sldChg>
      <pc:sldChg chg="addSp delSp modSp mod">
        <pc:chgData name="PROVENCHERE Sandrine" userId="ad1decff-d2ce-4d29-9d90-3591b80bc438" providerId="ADAL" clId="{B825B95D-54C2-4B80-808B-EC430A6636F0}" dt="2021-09-24T09:28:15.021" v="5460" actId="478"/>
        <pc:sldMkLst>
          <pc:docMk/>
          <pc:sldMk cId="2995402291" sldId="302"/>
        </pc:sldMkLst>
        <pc:spChg chg="mod ord">
          <ac:chgData name="PROVENCHERE Sandrine" userId="ad1decff-d2ce-4d29-9d90-3591b80bc438" providerId="ADAL" clId="{B825B95D-54C2-4B80-808B-EC430A6636F0}" dt="2021-09-21T11:49:30.950" v="516" actId="948"/>
          <ac:spMkLst>
            <pc:docMk/>
            <pc:sldMk cId="2995402291" sldId="302"/>
            <ac:spMk id="2" creationId="{5660FD56-7A4F-47E5-8616-21914FCCBB4D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5" creationId="{033BE535-BEA1-47DF-9882-B02E4E1D9238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6" creationId="{610CC8E6-A477-4C1F-9258-1E84E759FBB4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7" creationId="{40C2ECF1-C101-40BA-B4EF-F194AC4BE985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13" creationId="{45A28ABA-6C67-4EE2-A077-16F333614D0A}"/>
          </ac:spMkLst>
        </pc:spChg>
        <pc:spChg chg="add del mod modVis">
          <ac:chgData name="PROVENCHERE Sandrine" userId="ad1decff-d2ce-4d29-9d90-3591b80bc438" providerId="ADAL" clId="{B825B95D-54C2-4B80-808B-EC430A6636F0}" dt="2021-09-21T11:46:45.018" v="237"/>
          <ac:spMkLst>
            <pc:docMk/>
            <pc:sldMk cId="2995402291" sldId="302"/>
            <ac:spMk id="16" creationId="{0556A35C-7773-4B22-BDB3-E03DE96B235E}"/>
          </ac:spMkLst>
        </pc:spChg>
        <pc:spChg chg="add del mod modVis">
          <ac:chgData name="PROVENCHERE Sandrine" userId="ad1decff-d2ce-4d29-9d90-3591b80bc438" providerId="ADAL" clId="{B825B95D-54C2-4B80-808B-EC430A6636F0}" dt="2021-09-21T11:49:28.522" v="468"/>
          <ac:spMkLst>
            <pc:docMk/>
            <pc:sldMk cId="2995402291" sldId="302"/>
            <ac:spMk id="19" creationId="{3012C902-555F-4042-82EB-1E0FB4400206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20" creationId="{EB96E697-17D2-428C-89B5-1B12F9EFABAB}"/>
          </ac:spMkLst>
        </pc:spChg>
        <pc:spChg chg="add del mod modVis">
          <ac:chgData name="PROVENCHERE Sandrine" userId="ad1decff-d2ce-4d29-9d90-3591b80bc438" providerId="ADAL" clId="{B825B95D-54C2-4B80-808B-EC430A6636F0}" dt="2021-09-21T11:49:29.587" v="511"/>
          <ac:spMkLst>
            <pc:docMk/>
            <pc:sldMk cId="2995402291" sldId="302"/>
            <ac:spMk id="21" creationId="{51A9BA01-66C2-4E32-9E47-5A9033B6F382}"/>
          </ac:spMkLst>
        </pc:spChg>
        <pc:spChg chg="add del mod modVis">
          <ac:chgData name="PROVENCHERE Sandrine" userId="ad1decff-d2ce-4d29-9d90-3591b80bc438" providerId="ADAL" clId="{B825B95D-54C2-4B80-808B-EC430A6636F0}" dt="2021-09-21T11:49:30.993" v="555"/>
          <ac:spMkLst>
            <pc:docMk/>
            <pc:sldMk cId="2995402291" sldId="302"/>
            <ac:spMk id="22" creationId="{3BC37271-483B-4932-B2DE-FE175093CB63}"/>
          </ac:spMkLst>
        </pc:spChg>
        <pc:spChg chg="del mod">
          <ac:chgData name="PROVENCHERE Sandrine" userId="ad1decff-d2ce-4d29-9d90-3591b80bc438" providerId="ADAL" clId="{B825B95D-54C2-4B80-808B-EC430A6636F0}" dt="2021-09-24T09:28:15.021" v="5460" actId="478"/>
          <ac:spMkLst>
            <pc:docMk/>
            <pc:sldMk cId="2995402291" sldId="302"/>
            <ac:spMk id="29" creationId="{9B116BF7-25BC-425A-858C-5682142B7552}"/>
          </ac:spMkLst>
        </pc:spChg>
        <pc:spChg chg="del mod">
          <ac:chgData name="PROVENCHERE Sandrine" userId="ad1decff-d2ce-4d29-9d90-3591b80bc438" providerId="ADAL" clId="{B825B95D-54C2-4B80-808B-EC430A6636F0}" dt="2021-09-24T09:28:07.369" v="5454" actId="478"/>
          <ac:spMkLst>
            <pc:docMk/>
            <pc:sldMk cId="2995402291" sldId="302"/>
            <ac:spMk id="51" creationId="{D8E3F930-8CE1-4C2F-8147-D2F4078E8219}"/>
          </ac:spMkLst>
        </pc:spChg>
        <pc:spChg chg="add mod">
          <ac:chgData name="PROVENCHERE Sandrine" userId="ad1decff-d2ce-4d29-9d90-3591b80bc438" providerId="ADAL" clId="{B825B95D-54C2-4B80-808B-EC430A6636F0}" dt="2021-09-21T11:47:59.964" v="361"/>
          <ac:spMkLst>
            <pc:docMk/>
            <pc:sldMk cId="2995402291" sldId="302"/>
            <ac:spMk id="55" creationId="{B3A0BF32-D698-46D3-8036-4EC52D29CCA2}"/>
          </ac:spMkLst>
        </pc:spChg>
        <pc:spChg chg="del mod">
          <ac:chgData name="PROVENCHERE Sandrine" userId="ad1decff-d2ce-4d29-9d90-3591b80bc438" providerId="ADAL" clId="{B825B95D-54C2-4B80-808B-EC430A6636F0}" dt="2021-09-24T09:28:04.842" v="5452" actId="478"/>
          <ac:spMkLst>
            <pc:docMk/>
            <pc:sldMk cId="2995402291" sldId="302"/>
            <ac:spMk id="63" creationId="{E4934729-7C5B-4039-9E09-EAB8D5DADFB9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64" creationId="{9178FCED-3A7C-426B-AA98-4D270384ACFF}"/>
          </ac:spMkLst>
        </pc:spChg>
        <pc:spChg chg="del mod">
          <ac:chgData name="PROVENCHERE Sandrine" userId="ad1decff-d2ce-4d29-9d90-3591b80bc438" providerId="ADAL" clId="{B825B95D-54C2-4B80-808B-EC430A6636F0}" dt="2021-09-24T09:28:03.306" v="5451" actId="478"/>
          <ac:spMkLst>
            <pc:docMk/>
            <pc:sldMk cId="2995402291" sldId="302"/>
            <ac:spMk id="65" creationId="{073EE777-C34A-4932-B080-D75318E0753D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70" creationId="{5D246083-010F-4C9B-9CD8-31978639B100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72" creationId="{6FBFF67A-440C-4BF4-909A-C9FBD29357D0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92" creationId="{64114A14-DD21-4B7F-A7D8-A1E595EE094B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93" creationId="{5926F622-9C71-4197-AC8E-C94300BA25E0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98" creationId="{36B65000-BE90-4DC0-B063-1E0C6DC8E64A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100" creationId="{D6037D18-8E6A-4999-B3CD-D6696E7C8D29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102" creationId="{C109BD84-4ECE-41E7-A595-53FBB9E269E4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103" creationId="{2DFFD46C-FFA4-47CB-9E16-BB7EFFAE0DEF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105" creationId="{CACBE0A4-49BF-44E3-8C80-6468118A5003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106" creationId="{5C23025C-ABF2-4F91-95FF-0E90933945D8}"/>
          </ac:spMkLst>
        </pc:spChg>
        <pc:spChg chg="mod">
          <ac:chgData name="PROVENCHERE Sandrine" userId="ad1decff-d2ce-4d29-9d90-3591b80bc438" providerId="ADAL" clId="{B825B95D-54C2-4B80-808B-EC430A6636F0}" dt="2021-09-21T11:47:59.964" v="360"/>
          <ac:spMkLst>
            <pc:docMk/>
            <pc:sldMk cId="2995402291" sldId="302"/>
            <ac:spMk id="107" creationId="{910D5080-1565-4355-8554-B1CA241378BA}"/>
          </ac:spMkLst>
        </pc:spChg>
        <pc:spChg chg="del mod">
          <ac:chgData name="PROVENCHERE Sandrine" userId="ad1decff-d2ce-4d29-9d90-3591b80bc438" providerId="ADAL" clId="{B825B95D-54C2-4B80-808B-EC430A6636F0}" dt="2021-09-24T09:28:12.879" v="5458" actId="478"/>
          <ac:spMkLst>
            <pc:docMk/>
            <pc:sldMk cId="2995402291" sldId="302"/>
            <ac:spMk id="115" creationId="{25890D2B-A7D3-442B-93E9-27F53F8203DE}"/>
          </ac:spMkLst>
        </pc:spChg>
        <pc:spChg chg="del mod">
          <ac:chgData name="PROVENCHERE Sandrine" userId="ad1decff-d2ce-4d29-9d90-3591b80bc438" providerId="ADAL" clId="{B825B95D-54C2-4B80-808B-EC430A6636F0}" dt="2021-09-24T09:28:09.711" v="5456" actId="478"/>
          <ac:spMkLst>
            <pc:docMk/>
            <pc:sldMk cId="2995402291" sldId="302"/>
            <ac:spMk id="116" creationId="{C436F218-BEA1-486F-B112-861579B802A5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121" creationId="{CF6FD9A7-F4F8-4EAA-9723-23B26D03E5D6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122" creationId="{27321596-2308-40B7-9AB8-B4B01299F9B2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240" creationId="{4BFD82B9-2B97-400C-8DA4-4E07A801D006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253" creationId="{5B7BEAA7-762F-4520-BAD8-1384991C01A8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290" creationId="{63663CCE-F698-4769-A5BD-BAF749BF3F4B}"/>
          </ac:spMkLst>
        </pc:spChg>
        <pc:spChg chg="mod ord">
          <ac:chgData name="PROVENCHERE Sandrine" userId="ad1decff-d2ce-4d29-9d90-3591b80bc438" providerId="ADAL" clId="{B825B95D-54C2-4B80-808B-EC430A6636F0}" dt="2021-09-21T11:48:07.793" v="404"/>
          <ac:spMkLst>
            <pc:docMk/>
            <pc:sldMk cId="2995402291" sldId="302"/>
            <ac:spMk id="295" creationId="{8CB4C2FD-367C-4879-8586-35DF1CE6DBB3}"/>
          </ac:spMkLst>
        </pc:spChg>
        <pc:graphicFrameChg chg="mod">
          <ac:chgData name="PROVENCHERE Sandrine" userId="ad1decff-d2ce-4d29-9d90-3591b80bc438" providerId="ADAL" clId="{B825B95D-54C2-4B80-808B-EC430A6636F0}" dt="2021-09-21T11:49:31.009" v="557"/>
          <ac:graphicFrameMkLst>
            <pc:docMk/>
            <pc:sldMk cId="2995402291" sldId="302"/>
            <ac:graphicFrameMk id="31" creationId="{CF982A77-D6AC-4875-925C-A532A98C6114}"/>
          </ac:graphicFrameMkLst>
        </pc:graphicFrameChg>
        <pc:picChg chg="mod ord">
          <ac:chgData name="PROVENCHERE Sandrine" userId="ad1decff-d2ce-4d29-9d90-3591b80bc438" providerId="ADAL" clId="{B825B95D-54C2-4B80-808B-EC430A6636F0}" dt="2021-09-21T11:48:07.793" v="404"/>
          <ac:picMkLst>
            <pc:docMk/>
            <pc:sldMk cId="2995402291" sldId="302"/>
            <ac:picMk id="4" creationId="{43DE472C-352A-43B2-9F11-CADCC8F1C58F}"/>
          </ac:picMkLst>
        </pc:picChg>
        <pc:picChg chg="add mod ord">
          <ac:chgData name="PROVENCHERE Sandrine" userId="ad1decff-d2ce-4d29-9d90-3591b80bc438" providerId="ADAL" clId="{B825B95D-54C2-4B80-808B-EC430A6636F0}" dt="2021-09-21T11:48:07.793" v="404"/>
          <ac:picMkLst>
            <pc:docMk/>
            <pc:sldMk cId="2995402291" sldId="302"/>
            <ac:picMk id="8" creationId="{0EF0FD22-7E72-49FA-A420-6FDE7598F62E}"/>
          </ac:picMkLst>
        </pc:picChg>
        <pc:picChg chg="mod ord">
          <ac:chgData name="PROVENCHERE Sandrine" userId="ad1decff-d2ce-4d29-9d90-3591b80bc438" providerId="ADAL" clId="{B825B95D-54C2-4B80-808B-EC430A6636F0}" dt="2021-09-21T11:48:07.793" v="404"/>
          <ac:picMkLst>
            <pc:docMk/>
            <pc:sldMk cId="2995402291" sldId="302"/>
            <ac:picMk id="10" creationId="{374C20EB-C0F3-4D89-BE48-86028A29B5FC}"/>
          </ac:picMkLst>
        </pc:picChg>
        <pc:picChg chg="add mod ord">
          <ac:chgData name="PROVENCHERE Sandrine" userId="ad1decff-d2ce-4d29-9d90-3591b80bc438" providerId="ADAL" clId="{B825B95D-54C2-4B80-808B-EC430A6636F0}" dt="2021-09-21T11:48:07.793" v="404"/>
          <ac:picMkLst>
            <pc:docMk/>
            <pc:sldMk cId="2995402291" sldId="302"/>
            <ac:picMk id="11" creationId="{11EFEC27-B53F-4665-8A7A-20C320635EFB}"/>
          </ac:picMkLst>
        </pc:picChg>
        <pc:picChg chg="add mod ord">
          <ac:chgData name="PROVENCHERE Sandrine" userId="ad1decff-d2ce-4d29-9d90-3591b80bc438" providerId="ADAL" clId="{B825B95D-54C2-4B80-808B-EC430A6636F0}" dt="2021-09-21T11:48:07.793" v="404"/>
          <ac:picMkLst>
            <pc:docMk/>
            <pc:sldMk cId="2995402291" sldId="302"/>
            <ac:picMk id="14" creationId="{F8DF10AB-BC8E-4EFA-968B-C6F1073FE458}"/>
          </ac:picMkLst>
        </pc:picChg>
        <pc:picChg chg="del">
          <ac:chgData name="PROVENCHERE Sandrine" userId="ad1decff-d2ce-4d29-9d90-3591b80bc438" providerId="ADAL" clId="{B825B95D-54C2-4B80-808B-EC430A6636F0}" dt="2021-09-21T11:44:12.289" v="8" actId="478"/>
          <ac:picMkLst>
            <pc:docMk/>
            <pc:sldMk cId="2995402291" sldId="302"/>
            <ac:picMk id="15" creationId="{E5FDCB13-BF27-4389-AC2F-2E4FBEA28674}"/>
          </ac:picMkLst>
        </pc:picChg>
        <pc:picChg chg="add mod ord">
          <ac:chgData name="PROVENCHERE Sandrine" userId="ad1decff-d2ce-4d29-9d90-3591b80bc438" providerId="ADAL" clId="{B825B95D-54C2-4B80-808B-EC430A6636F0}" dt="2021-09-21T11:48:25.303" v="427"/>
          <ac:picMkLst>
            <pc:docMk/>
            <pc:sldMk cId="2995402291" sldId="302"/>
            <ac:picMk id="18" creationId="{93BC337D-812C-4D36-A5D8-84FC5337096A}"/>
          </ac:picMkLst>
        </pc:picChg>
        <pc:picChg chg="del">
          <ac:chgData name="PROVENCHERE Sandrine" userId="ad1decff-d2ce-4d29-9d90-3591b80bc438" providerId="ADAL" clId="{B825B95D-54C2-4B80-808B-EC430A6636F0}" dt="2021-09-21T11:45:15.825" v="23" actId="478"/>
          <ac:picMkLst>
            <pc:docMk/>
            <pc:sldMk cId="2995402291" sldId="302"/>
            <ac:picMk id="24" creationId="{45E63130-FCB8-4103-8B79-7FB85AD8EE75}"/>
          </ac:picMkLst>
        </pc:picChg>
        <pc:picChg chg="del mod ord">
          <ac:chgData name="PROVENCHERE Sandrine" userId="ad1decff-d2ce-4d29-9d90-3591b80bc438" providerId="ADAL" clId="{B825B95D-54C2-4B80-808B-EC430A6636F0}" dt="2021-09-21T11:47:39.794" v="267" actId="478"/>
          <ac:picMkLst>
            <pc:docMk/>
            <pc:sldMk cId="2995402291" sldId="302"/>
            <ac:picMk id="27" creationId="{4DC5FA04-4601-488D-BD1D-675593B7A047}"/>
          </ac:picMkLst>
        </pc:picChg>
        <pc:picChg chg="mod ord">
          <ac:chgData name="PROVENCHERE Sandrine" userId="ad1decff-d2ce-4d29-9d90-3591b80bc438" providerId="ADAL" clId="{B825B95D-54C2-4B80-808B-EC430A6636F0}" dt="2021-09-21T11:48:07.793" v="404"/>
          <ac:picMkLst>
            <pc:docMk/>
            <pc:sldMk cId="2995402291" sldId="302"/>
            <ac:picMk id="104" creationId="{66215C4C-F251-4190-B785-4C69A17BD2ED}"/>
          </ac:picMkLst>
        </pc:picChg>
        <pc:picChg chg="mod ord">
          <ac:chgData name="PROVENCHERE Sandrine" userId="ad1decff-d2ce-4d29-9d90-3591b80bc438" providerId="ADAL" clId="{B825B95D-54C2-4B80-808B-EC430A6636F0}" dt="2021-09-21T11:48:07.793" v="404"/>
          <ac:picMkLst>
            <pc:docMk/>
            <pc:sldMk cId="2995402291" sldId="302"/>
            <ac:picMk id="164" creationId="{FFB04B5B-5CAF-4185-B796-63B230BDDF04}"/>
          </ac:picMkLst>
        </pc:picChg>
        <pc:cxnChg chg="del mod ord">
          <ac:chgData name="PROVENCHERE Sandrine" userId="ad1decff-d2ce-4d29-9d90-3591b80bc438" providerId="ADAL" clId="{B825B95D-54C2-4B80-808B-EC430A6636F0}" dt="2021-09-24T09:28:08.477" v="5455" actId="478"/>
          <ac:cxnSpMkLst>
            <pc:docMk/>
            <pc:sldMk cId="2995402291" sldId="302"/>
            <ac:cxnSpMk id="48" creationId="{44C2E40D-20B6-4132-9C46-482B211B31D7}"/>
          </ac:cxnSpMkLst>
        </pc:cxnChg>
        <pc:cxnChg chg="del mod ord">
          <ac:chgData name="PROVENCHERE Sandrine" userId="ad1decff-d2ce-4d29-9d90-3591b80bc438" providerId="ADAL" clId="{B825B95D-54C2-4B80-808B-EC430A6636F0}" dt="2021-09-24T09:28:05.946" v="5453" actId="478"/>
          <ac:cxnSpMkLst>
            <pc:docMk/>
            <pc:sldMk cId="2995402291" sldId="302"/>
            <ac:cxnSpMk id="49" creationId="{329E7C3B-0D69-4023-BCDB-9AEBB8E74876}"/>
          </ac:cxnSpMkLst>
        </pc:cxnChg>
        <pc:cxnChg chg="del mod ord">
          <ac:chgData name="PROVENCHERE Sandrine" userId="ad1decff-d2ce-4d29-9d90-3591b80bc438" providerId="ADAL" clId="{B825B95D-54C2-4B80-808B-EC430A6636F0}" dt="2021-09-24T09:28:00.852" v="5450" actId="478"/>
          <ac:cxnSpMkLst>
            <pc:docMk/>
            <pc:sldMk cId="2995402291" sldId="302"/>
            <ac:cxnSpMk id="56" creationId="{74FD99F6-43D2-4F5E-886B-259AC29B5615}"/>
          </ac:cxnSpMkLst>
        </pc:cxnChg>
        <pc:cxnChg chg="del mod ord">
          <ac:chgData name="PROVENCHERE Sandrine" userId="ad1decff-d2ce-4d29-9d90-3591b80bc438" providerId="ADAL" clId="{B825B95D-54C2-4B80-808B-EC430A6636F0}" dt="2021-09-24T09:27:58.906" v="5449" actId="478"/>
          <ac:cxnSpMkLst>
            <pc:docMk/>
            <pc:sldMk cId="2995402291" sldId="302"/>
            <ac:cxnSpMk id="66" creationId="{5F1B1DFD-FA38-4F54-90D8-0046820AEF3E}"/>
          </ac:cxnSpMkLst>
        </pc:cxnChg>
        <pc:cxnChg chg="del mod ord">
          <ac:chgData name="PROVENCHERE Sandrine" userId="ad1decff-d2ce-4d29-9d90-3591b80bc438" providerId="ADAL" clId="{B825B95D-54C2-4B80-808B-EC430A6636F0}" dt="2021-09-24T09:28:10.788" v="5457" actId="478"/>
          <ac:cxnSpMkLst>
            <pc:docMk/>
            <pc:sldMk cId="2995402291" sldId="302"/>
            <ac:cxnSpMk id="118" creationId="{3712C1A0-F9AD-4284-90D0-C98C189AD33D}"/>
          </ac:cxnSpMkLst>
        </pc:cxnChg>
        <pc:cxnChg chg="del mod ord">
          <ac:chgData name="PROVENCHERE Sandrine" userId="ad1decff-d2ce-4d29-9d90-3591b80bc438" providerId="ADAL" clId="{B825B95D-54C2-4B80-808B-EC430A6636F0}" dt="2021-09-24T09:28:13.776" v="5459" actId="478"/>
          <ac:cxnSpMkLst>
            <pc:docMk/>
            <pc:sldMk cId="2995402291" sldId="302"/>
            <ac:cxnSpMk id="224" creationId="{62F3F9D0-C2AD-48F3-9AD7-295E4EE8BB54}"/>
          </ac:cxnSpMkLst>
        </pc:cxnChg>
        <pc:cxnChg chg="mod ord">
          <ac:chgData name="PROVENCHERE Sandrine" userId="ad1decff-d2ce-4d29-9d90-3591b80bc438" providerId="ADAL" clId="{B825B95D-54C2-4B80-808B-EC430A6636F0}" dt="2021-09-21T11:48:07.793" v="404"/>
          <ac:cxnSpMkLst>
            <pc:docMk/>
            <pc:sldMk cId="2995402291" sldId="302"/>
            <ac:cxnSpMk id="241" creationId="{8D72865D-2B00-4738-A799-D04F074D05F0}"/>
          </ac:cxnSpMkLst>
        </pc:cxnChg>
        <pc:cxnChg chg="mod ord">
          <ac:chgData name="PROVENCHERE Sandrine" userId="ad1decff-d2ce-4d29-9d90-3591b80bc438" providerId="ADAL" clId="{B825B95D-54C2-4B80-808B-EC430A6636F0}" dt="2021-09-21T11:48:07.793" v="404"/>
          <ac:cxnSpMkLst>
            <pc:docMk/>
            <pc:sldMk cId="2995402291" sldId="302"/>
            <ac:cxnSpMk id="242" creationId="{53E0D234-6E24-49BC-A813-740A80CE002B}"/>
          </ac:cxnSpMkLst>
        </pc:cxnChg>
      </pc:sldChg>
      <pc:sldChg chg="modSp mod">
        <pc:chgData name="PROVENCHERE Sandrine" userId="ad1decff-d2ce-4d29-9d90-3591b80bc438" providerId="ADAL" clId="{B825B95D-54C2-4B80-808B-EC430A6636F0}" dt="2021-09-24T09:33:06.343" v="5727" actId="20577"/>
        <pc:sldMkLst>
          <pc:docMk/>
          <pc:sldMk cId="3786029249" sldId="306"/>
        </pc:sldMkLst>
        <pc:spChg chg="mod">
          <ac:chgData name="PROVENCHERE Sandrine" userId="ad1decff-d2ce-4d29-9d90-3591b80bc438" providerId="ADAL" clId="{B825B95D-54C2-4B80-808B-EC430A6636F0}" dt="2021-09-23T16:13:29.857" v="5070" actId="313"/>
          <ac:spMkLst>
            <pc:docMk/>
            <pc:sldMk cId="3786029249" sldId="306"/>
            <ac:spMk id="2" creationId="{6B659271-D2B0-43A6-A615-868AB1F22A09}"/>
          </ac:spMkLst>
        </pc:spChg>
        <pc:spChg chg="mod">
          <ac:chgData name="PROVENCHERE Sandrine" userId="ad1decff-d2ce-4d29-9d90-3591b80bc438" providerId="ADAL" clId="{B825B95D-54C2-4B80-808B-EC430A6636F0}" dt="2021-09-24T09:31:34.146" v="5602" actId="20577"/>
          <ac:spMkLst>
            <pc:docMk/>
            <pc:sldMk cId="3786029249" sldId="306"/>
            <ac:spMk id="17" creationId="{17A54928-8ADB-4B10-900E-B3726C991048}"/>
          </ac:spMkLst>
        </pc:spChg>
        <pc:spChg chg="mod">
          <ac:chgData name="PROVENCHERE Sandrine" userId="ad1decff-d2ce-4d29-9d90-3591b80bc438" providerId="ADAL" clId="{B825B95D-54C2-4B80-808B-EC430A6636F0}" dt="2021-09-24T09:33:06.343" v="5727" actId="20577"/>
          <ac:spMkLst>
            <pc:docMk/>
            <pc:sldMk cId="3786029249" sldId="306"/>
            <ac:spMk id="18" creationId="{A68FD972-9CA0-4E04-A011-04EB94EF4394}"/>
          </ac:spMkLst>
        </pc:spChg>
      </pc:sldChg>
      <pc:sldChg chg="modSp mod">
        <pc:chgData name="PROVENCHERE Sandrine" userId="ad1decff-d2ce-4d29-9d90-3591b80bc438" providerId="ADAL" clId="{B825B95D-54C2-4B80-808B-EC430A6636F0}" dt="2021-09-21T11:42:58.283" v="4" actId="6549"/>
        <pc:sldMkLst>
          <pc:docMk/>
          <pc:sldMk cId="3366464129" sldId="307"/>
        </pc:sldMkLst>
        <pc:spChg chg="mod">
          <ac:chgData name="PROVENCHERE Sandrine" userId="ad1decff-d2ce-4d29-9d90-3591b80bc438" providerId="ADAL" clId="{B825B95D-54C2-4B80-808B-EC430A6636F0}" dt="2021-09-21T11:42:58.283" v="4" actId="6549"/>
          <ac:spMkLst>
            <pc:docMk/>
            <pc:sldMk cId="3366464129" sldId="307"/>
            <ac:spMk id="2" creationId="{71155487-2948-4B79-B454-10A25402BAD8}"/>
          </ac:spMkLst>
        </pc:spChg>
      </pc:sldChg>
      <pc:sldChg chg="addSp delSp modSp mod">
        <pc:chgData name="PROVENCHERE Sandrine" userId="ad1decff-d2ce-4d29-9d90-3591b80bc438" providerId="ADAL" clId="{B825B95D-54C2-4B80-808B-EC430A6636F0}" dt="2021-09-24T09:49:58.362" v="6953"/>
        <pc:sldMkLst>
          <pc:docMk/>
          <pc:sldMk cId="2715760571" sldId="311"/>
        </pc:sldMkLst>
        <pc:spChg chg="add del mod modVis">
          <ac:chgData name="PROVENCHERE Sandrine" userId="ad1decff-d2ce-4d29-9d90-3591b80bc438" providerId="ADAL" clId="{B825B95D-54C2-4B80-808B-EC430A6636F0}" dt="2021-09-21T13:01:17.446" v="1762"/>
          <ac:spMkLst>
            <pc:docMk/>
            <pc:sldMk cId="2715760571" sldId="311"/>
            <ac:spMk id="2" creationId="{FB21A1C1-2441-4E35-AB92-6DFCE40ADAFC}"/>
          </ac:spMkLst>
        </pc:spChg>
        <pc:spChg chg="add del mod modVis">
          <ac:chgData name="PROVENCHERE Sandrine" userId="ad1decff-d2ce-4d29-9d90-3591b80bc438" providerId="ADAL" clId="{B825B95D-54C2-4B80-808B-EC430A6636F0}" dt="2021-09-24T09:37:14.022" v="6655"/>
          <ac:spMkLst>
            <pc:docMk/>
            <pc:sldMk cId="2715760571" sldId="311"/>
            <ac:spMk id="2" creationId="{FCCC129F-DF25-4AE2-B46E-8EA5A6483D44}"/>
          </ac:spMkLst>
        </pc:spChg>
        <pc:spChg chg="mod ord">
          <ac:chgData name="PROVENCHERE Sandrine" userId="ad1decff-d2ce-4d29-9d90-3591b80bc438" providerId="ADAL" clId="{B825B95D-54C2-4B80-808B-EC430A6636F0}" dt="2021-09-24T09:37:13.994" v="6581"/>
          <ac:spMkLst>
            <pc:docMk/>
            <pc:sldMk cId="2715760571" sldId="311"/>
            <ac:spMk id="3" creationId="{7123C9CD-0DB3-4CF8-A58B-E9B01F7752F7}"/>
          </ac:spMkLst>
        </pc:spChg>
        <pc:spChg chg="mod ord">
          <ac:chgData name="PROVENCHERE Sandrine" userId="ad1decff-d2ce-4d29-9d90-3591b80bc438" providerId="ADAL" clId="{B825B95D-54C2-4B80-808B-EC430A6636F0}" dt="2021-09-24T09:37:13.927" v="6400"/>
          <ac:spMkLst>
            <pc:docMk/>
            <pc:sldMk cId="2715760571" sldId="311"/>
            <ac:spMk id="5" creationId="{10A373AB-AD61-4AED-871E-8986A038C3B1}"/>
          </ac:spMkLst>
        </pc:spChg>
        <pc:spChg chg="mod ord">
          <ac:chgData name="PROVENCHERE Sandrine" userId="ad1decff-d2ce-4d29-9d90-3591b80bc438" providerId="ADAL" clId="{B825B95D-54C2-4B80-808B-EC430A6636F0}" dt="2021-09-24T09:37:14.004" v="6593"/>
          <ac:spMkLst>
            <pc:docMk/>
            <pc:sldMk cId="2715760571" sldId="311"/>
            <ac:spMk id="8" creationId="{0F248677-2B3B-4D33-8092-A63747D709D5}"/>
          </ac:spMkLst>
        </pc:spChg>
        <pc:spChg chg="del mod ord">
          <ac:chgData name="PROVENCHERE Sandrine" userId="ad1decff-d2ce-4d29-9d90-3591b80bc438" providerId="ADAL" clId="{B825B95D-54C2-4B80-808B-EC430A6636F0}" dt="2021-09-21T13:04:46.210" v="2512" actId="478"/>
          <ac:spMkLst>
            <pc:docMk/>
            <pc:sldMk cId="2715760571" sldId="311"/>
            <ac:spMk id="9" creationId="{3D55471C-F673-49AF-B6B6-D1F7793F450D}"/>
          </ac:spMkLst>
        </pc:spChg>
        <pc:spChg chg="mod ord">
          <ac:chgData name="PROVENCHERE Sandrine" userId="ad1decff-d2ce-4d29-9d90-3591b80bc438" providerId="ADAL" clId="{B825B95D-54C2-4B80-808B-EC430A6636F0}" dt="2021-09-24T09:37:13.927" v="6408"/>
          <ac:spMkLst>
            <pc:docMk/>
            <pc:sldMk cId="2715760571" sldId="311"/>
            <ac:spMk id="10" creationId="{00000000-0000-0000-0000-000000000000}"/>
          </ac:spMkLst>
        </pc:spChg>
        <pc:spChg chg="mod ord">
          <ac:chgData name="PROVENCHERE Sandrine" userId="ad1decff-d2ce-4d29-9d90-3591b80bc438" providerId="ADAL" clId="{B825B95D-54C2-4B80-808B-EC430A6636F0}" dt="2021-09-24T09:37:13.927" v="6406"/>
          <ac:spMkLst>
            <pc:docMk/>
            <pc:sldMk cId="2715760571" sldId="311"/>
            <ac:spMk id="11" creationId="{00000000-0000-0000-0000-000000000000}"/>
          </ac:spMkLst>
        </pc:spChg>
        <pc:spChg chg="del mod ord">
          <ac:chgData name="PROVENCHERE Sandrine" userId="ad1decff-d2ce-4d29-9d90-3591b80bc438" providerId="ADAL" clId="{B825B95D-54C2-4B80-808B-EC430A6636F0}" dt="2021-09-21T13:04:46.210" v="2512" actId="478"/>
          <ac:spMkLst>
            <pc:docMk/>
            <pc:sldMk cId="2715760571" sldId="311"/>
            <ac:spMk id="13" creationId="{00000000-0000-0000-0000-000000000000}"/>
          </ac:spMkLst>
        </pc:spChg>
        <pc:spChg chg="mod ord">
          <ac:chgData name="PROVENCHERE Sandrine" userId="ad1decff-d2ce-4d29-9d90-3591b80bc438" providerId="ADAL" clId="{B825B95D-54C2-4B80-808B-EC430A6636F0}" dt="2021-09-24T09:37:13.927" v="6410"/>
          <ac:spMkLst>
            <pc:docMk/>
            <pc:sldMk cId="2715760571" sldId="311"/>
            <ac:spMk id="16" creationId="{00000000-0000-0000-0000-000000000000}"/>
          </ac:spMkLst>
        </pc:spChg>
        <pc:spChg chg="mod ord">
          <ac:chgData name="PROVENCHERE Sandrine" userId="ad1decff-d2ce-4d29-9d90-3591b80bc438" providerId="ADAL" clId="{B825B95D-54C2-4B80-808B-EC430A6636F0}" dt="2021-09-24T09:37:13.927" v="6412"/>
          <ac:spMkLst>
            <pc:docMk/>
            <pc:sldMk cId="2715760571" sldId="311"/>
            <ac:spMk id="17" creationId="{00000000-0000-0000-0000-000000000000}"/>
          </ac:spMkLst>
        </pc:spChg>
        <pc:spChg chg="mod ord">
          <ac:chgData name="PROVENCHERE Sandrine" userId="ad1decff-d2ce-4d29-9d90-3591b80bc438" providerId="ADAL" clId="{B825B95D-54C2-4B80-808B-EC430A6636F0}" dt="2021-09-24T09:37:13.927" v="6424"/>
          <ac:spMkLst>
            <pc:docMk/>
            <pc:sldMk cId="2715760571" sldId="311"/>
            <ac:spMk id="18" creationId="{C818D617-BDA1-4FA4-AD0B-655F50438613}"/>
          </ac:spMkLst>
        </pc:spChg>
        <pc:spChg chg="mod ord">
          <ac:chgData name="PROVENCHERE Sandrine" userId="ad1decff-d2ce-4d29-9d90-3591b80bc438" providerId="ADAL" clId="{B825B95D-54C2-4B80-808B-EC430A6636F0}" dt="2021-09-24T09:37:13.927" v="6426"/>
          <ac:spMkLst>
            <pc:docMk/>
            <pc:sldMk cId="2715760571" sldId="311"/>
            <ac:spMk id="19" creationId="{13034FE2-4385-4DCF-B23C-99CE479BC164}"/>
          </ac:spMkLst>
        </pc:spChg>
        <pc:spChg chg="add del mod modVis">
          <ac:chgData name="PROVENCHERE Sandrine" userId="ad1decff-d2ce-4d29-9d90-3591b80bc438" providerId="ADAL" clId="{B825B95D-54C2-4B80-808B-EC430A6636F0}" dt="2021-09-21T13:01:23.237" v="2448"/>
          <ac:spMkLst>
            <pc:docMk/>
            <pc:sldMk cId="2715760571" sldId="311"/>
            <ac:spMk id="21" creationId="{90F7CB4A-50D8-43FE-9B08-9CB7327461DA}"/>
          </ac:spMkLst>
        </pc:spChg>
        <pc:spChg chg="mod">
          <ac:chgData name="PROVENCHERE Sandrine" userId="ad1decff-d2ce-4d29-9d90-3591b80bc438" providerId="ADAL" clId="{B825B95D-54C2-4B80-808B-EC430A6636F0}" dt="2021-09-24T09:37:13.943" v="6441"/>
          <ac:spMkLst>
            <pc:docMk/>
            <pc:sldMk cId="2715760571" sldId="311"/>
            <ac:spMk id="22" creationId="{FD42C964-3FB1-4BC5-9068-C1E186698C9E}"/>
          </ac:spMkLst>
        </pc:spChg>
        <pc:spChg chg="del mod ord">
          <ac:chgData name="PROVENCHERE Sandrine" userId="ad1decff-d2ce-4d29-9d90-3591b80bc438" providerId="ADAL" clId="{B825B95D-54C2-4B80-808B-EC430A6636F0}" dt="2021-09-21T13:04:03.411" v="2508" actId="478"/>
          <ac:spMkLst>
            <pc:docMk/>
            <pc:sldMk cId="2715760571" sldId="311"/>
            <ac:spMk id="25" creationId="{09F096B1-AFB1-4407-9A5A-FB8F47A3DF9F}"/>
          </ac:spMkLst>
        </pc:spChg>
        <pc:spChg chg="del mod ord">
          <ac:chgData name="PROVENCHERE Sandrine" userId="ad1decff-d2ce-4d29-9d90-3591b80bc438" providerId="ADAL" clId="{B825B95D-54C2-4B80-808B-EC430A6636F0}" dt="2021-09-21T13:18:01.980" v="3805"/>
          <ac:spMkLst>
            <pc:docMk/>
            <pc:sldMk cId="2715760571" sldId="311"/>
            <ac:spMk id="28" creationId="{37FD7810-6572-4326-B174-03940A2EAFC0}"/>
          </ac:spMkLst>
        </pc:spChg>
        <pc:spChg chg="add del mod modVis">
          <ac:chgData name="PROVENCHERE Sandrine" userId="ad1decff-d2ce-4d29-9d90-3591b80bc438" providerId="ADAL" clId="{B825B95D-54C2-4B80-808B-EC430A6636F0}" dt="2021-09-21T13:08:26.293" v="2597"/>
          <ac:spMkLst>
            <pc:docMk/>
            <pc:sldMk cId="2715760571" sldId="311"/>
            <ac:spMk id="30" creationId="{26503473-8559-4075-B4DB-453EA58B77D1}"/>
          </ac:spMkLst>
        </pc:spChg>
        <pc:spChg chg="add del mod modVis">
          <ac:chgData name="PROVENCHERE Sandrine" userId="ad1decff-d2ce-4d29-9d90-3591b80bc438" providerId="ADAL" clId="{B825B95D-54C2-4B80-808B-EC430A6636F0}" dt="2021-09-21T13:08:27.199" v="2648"/>
          <ac:spMkLst>
            <pc:docMk/>
            <pc:sldMk cId="2715760571" sldId="311"/>
            <ac:spMk id="31" creationId="{790A5A35-9A59-47C2-9023-226320BEE0A1}"/>
          </ac:spMkLst>
        </pc:spChg>
        <pc:spChg chg="add del mod modVis">
          <ac:chgData name="PROVENCHERE Sandrine" userId="ad1decff-d2ce-4d29-9d90-3591b80bc438" providerId="ADAL" clId="{B825B95D-54C2-4B80-808B-EC430A6636F0}" dt="2021-09-21T13:08:28.579" v="2700"/>
          <ac:spMkLst>
            <pc:docMk/>
            <pc:sldMk cId="2715760571" sldId="311"/>
            <ac:spMk id="32" creationId="{5CFEDFB5-0840-439F-93DF-75DF056AD725}"/>
          </ac:spMkLst>
        </pc:spChg>
        <pc:spChg chg="add del mod modVis">
          <ac:chgData name="PROVENCHERE Sandrine" userId="ad1decff-d2ce-4d29-9d90-3591b80bc438" providerId="ADAL" clId="{B825B95D-54C2-4B80-808B-EC430A6636F0}" dt="2021-09-21T13:20:41.756" v="4273"/>
          <ac:spMkLst>
            <pc:docMk/>
            <pc:sldMk cId="2715760571" sldId="311"/>
            <ac:spMk id="33" creationId="{E2FA7140-5A43-400E-9EE1-D274FA19CDF1}"/>
          </ac:spMkLst>
        </pc:spChg>
        <pc:spChg chg="mod ord">
          <ac:chgData name="PROVENCHERE Sandrine" userId="ad1decff-d2ce-4d29-9d90-3591b80bc438" providerId="ADAL" clId="{B825B95D-54C2-4B80-808B-EC430A6636F0}" dt="2021-09-24T09:37:13.927" v="6414"/>
          <ac:spMkLst>
            <pc:docMk/>
            <pc:sldMk cId="2715760571" sldId="311"/>
            <ac:spMk id="34" creationId="{6C637BB9-5738-4644-B55B-C7F69DDAAE70}"/>
          </ac:spMkLst>
        </pc:spChg>
        <pc:spChg chg="add del mod modVis">
          <ac:chgData name="PROVENCHERE Sandrine" userId="ad1decff-d2ce-4d29-9d90-3591b80bc438" providerId="ADAL" clId="{B825B95D-54C2-4B80-808B-EC430A6636F0}" dt="2021-09-21T13:20:45.655" v="4719"/>
          <ac:spMkLst>
            <pc:docMk/>
            <pc:sldMk cId="2715760571" sldId="311"/>
            <ac:spMk id="35" creationId="{99D95281-FF2D-475E-9F7E-9F4CDB9D9CE7}"/>
          </ac:spMkLst>
        </pc:spChg>
        <pc:spChg chg="mod ord">
          <ac:chgData name="PROVENCHERE Sandrine" userId="ad1decff-d2ce-4d29-9d90-3591b80bc438" providerId="ADAL" clId="{B825B95D-54C2-4B80-808B-EC430A6636F0}" dt="2021-09-24T09:37:13.927" v="6430"/>
          <ac:spMkLst>
            <pc:docMk/>
            <pc:sldMk cId="2715760571" sldId="311"/>
            <ac:spMk id="138" creationId="{D7F57ED2-D42E-4509-B433-A35419661A4D}"/>
          </ac:spMkLst>
        </pc:spChg>
        <pc:spChg chg="mod ord">
          <ac:chgData name="PROVENCHERE Sandrine" userId="ad1decff-d2ce-4d29-9d90-3591b80bc438" providerId="ADAL" clId="{B825B95D-54C2-4B80-808B-EC430A6636F0}" dt="2021-09-24T09:37:13.954" v="6477"/>
          <ac:spMkLst>
            <pc:docMk/>
            <pc:sldMk cId="2715760571" sldId="311"/>
            <ac:spMk id="144" creationId="{6722C45A-27DD-4C98-B534-7A0593FA8238}"/>
          </ac:spMkLst>
        </pc:spChg>
        <pc:spChg chg="mod ord">
          <ac:chgData name="PROVENCHERE Sandrine" userId="ad1decff-d2ce-4d29-9d90-3591b80bc438" providerId="ADAL" clId="{B825B95D-54C2-4B80-808B-EC430A6636F0}" dt="2021-09-24T09:37:13.954" v="6479"/>
          <ac:spMkLst>
            <pc:docMk/>
            <pc:sldMk cId="2715760571" sldId="311"/>
            <ac:spMk id="145" creationId="{38454F27-009D-49D5-824E-8B8829526155}"/>
          </ac:spMkLst>
        </pc:spChg>
        <pc:spChg chg="mod">
          <ac:chgData name="PROVENCHERE Sandrine" userId="ad1decff-d2ce-4d29-9d90-3591b80bc438" providerId="ADAL" clId="{B825B95D-54C2-4B80-808B-EC430A6636F0}" dt="2021-09-24T09:37:13.965" v="6494"/>
          <ac:spMkLst>
            <pc:docMk/>
            <pc:sldMk cId="2715760571" sldId="311"/>
            <ac:spMk id="156" creationId="{FFB1ADF8-FC39-450E-8713-51E84E19C50B}"/>
          </ac:spMkLst>
        </pc:spChg>
        <pc:spChg chg="mod">
          <ac:chgData name="PROVENCHERE Sandrine" userId="ad1decff-d2ce-4d29-9d90-3591b80bc438" providerId="ADAL" clId="{B825B95D-54C2-4B80-808B-EC430A6636F0}" dt="2021-09-24T09:37:13.982" v="6530"/>
          <ac:spMkLst>
            <pc:docMk/>
            <pc:sldMk cId="2715760571" sldId="311"/>
            <ac:spMk id="157" creationId="{FB7A7D5C-429B-42F4-B257-D107BFE0E02D}"/>
          </ac:spMkLst>
        </pc:spChg>
        <pc:spChg chg="mod">
          <ac:chgData name="PROVENCHERE Sandrine" userId="ad1decff-d2ce-4d29-9d90-3591b80bc438" providerId="ADAL" clId="{B825B95D-54C2-4B80-808B-EC430A6636F0}" dt="2021-09-24T09:37:13.965" v="6493"/>
          <ac:spMkLst>
            <pc:docMk/>
            <pc:sldMk cId="2715760571" sldId="311"/>
            <ac:spMk id="162" creationId="{5CA29E31-9C27-47C4-87D8-9254DF9F739D}"/>
          </ac:spMkLst>
        </pc:spChg>
        <pc:spChg chg="mod">
          <ac:chgData name="PROVENCHERE Sandrine" userId="ad1decff-d2ce-4d29-9d90-3591b80bc438" providerId="ADAL" clId="{B825B95D-54C2-4B80-808B-EC430A6636F0}" dt="2021-09-24T09:37:13.965" v="6498"/>
          <ac:spMkLst>
            <pc:docMk/>
            <pc:sldMk cId="2715760571" sldId="311"/>
            <ac:spMk id="164" creationId="{7B64E7BF-CF59-4648-94EB-7A74AD3D5C0D}"/>
          </ac:spMkLst>
        </pc:spChg>
        <pc:spChg chg="mod">
          <ac:chgData name="PROVENCHERE Sandrine" userId="ad1decff-d2ce-4d29-9d90-3591b80bc438" providerId="ADAL" clId="{B825B95D-54C2-4B80-808B-EC430A6636F0}" dt="2021-09-24T09:37:13.982" v="6527"/>
          <ac:spMkLst>
            <pc:docMk/>
            <pc:sldMk cId="2715760571" sldId="311"/>
            <ac:spMk id="165" creationId="{72493A5C-7BE1-449E-A5BA-C58C77C4D6A1}"/>
          </ac:spMkLst>
        </pc:spChg>
        <pc:spChg chg="mod">
          <ac:chgData name="PROVENCHERE Sandrine" userId="ad1decff-d2ce-4d29-9d90-3591b80bc438" providerId="ADAL" clId="{B825B95D-54C2-4B80-808B-EC430A6636F0}" dt="2021-09-24T09:37:13.984" v="6533"/>
          <ac:spMkLst>
            <pc:docMk/>
            <pc:sldMk cId="2715760571" sldId="311"/>
            <ac:spMk id="166" creationId="{10133404-69A2-4C5A-AFCF-BBAD1E9D1CC7}"/>
          </ac:spMkLst>
        </pc:spChg>
        <pc:spChg chg="mod">
          <ac:chgData name="PROVENCHERE Sandrine" userId="ad1decff-d2ce-4d29-9d90-3591b80bc438" providerId="ADAL" clId="{B825B95D-54C2-4B80-808B-EC430A6636F0}" dt="2021-09-24T09:37:13.965" v="6495"/>
          <ac:spMkLst>
            <pc:docMk/>
            <pc:sldMk cId="2715760571" sldId="311"/>
            <ac:spMk id="167" creationId="{1EE0F536-1CDA-4CA8-B758-F9EB93AD4D7E}"/>
          </ac:spMkLst>
        </pc:spChg>
        <pc:spChg chg="mod">
          <ac:chgData name="PROVENCHERE Sandrine" userId="ad1decff-d2ce-4d29-9d90-3591b80bc438" providerId="ADAL" clId="{B825B95D-54C2-4B80-808B-EC430A6636F0}" dt="2021-09-24T09:37:13.965" v="6503"/>
          <ac:spMkLst>
            <pc:docMk/>
            <pc:sldMk cId="2715760571" sldId="311"/>
            <ac:spMk id="168" creationId="{256E1423-A209-48D4-AFF3-8C76C5F02B1E}"/>
          </ac:spMkLst>
        </pc:spChg>
        <pc:spChg chg="mod">
          <ac:chgData name="PROVENCHERE Sandrine" userId="ad1decff-d2ce-4d29-9d90-3591b80bc438" providerId="ADAL" clId="{B825B95D-54C2-4B80-808B-EC430A6636F0}" dt="2021-09-24T09:37:13.965" v="6504"/>
          <ac:spMkLst>
            <pc:docMk/>
            <pc:sldMk cId="2715760571" sldId="311"/>
            <ac:spMk id="169" creationId="{93D26106-91A6-4BA4-92EB-AC4980D93D44}"/>
          </ac:spMkLst>
        </pc:spChg>
        <pc:spChg chg="mod ord">
          <ac:chgData name="PROVENCHERE Sandrine" userId="ad1decff-d2ce-4d29-9d90-3591b80bc438" providerId="ADAL" clId="{B825B95D-54C2-4B80-808B-EC430A6636F0}" dt="2021-09-24T09:37:13.963" v="6490"/>
          <ac:spMkLst>
            <pc:docMk/>
            <pc:sldMk cId="2715760571" sldId="311"/>
            <ac:spMk id="170" creationId="{E7A1DBDF-DE03-404A-BE2E-463E8CB11F17}"/>
          </ac:spMkLst>
        </pc:spChg>
        <pc:spChg chg="mod ord">
          <ac:chgData name="PROVENCHERE Sandrine" userId="ad1decff-d2ce-4d29-9d90-3591b80bc438" providerId="ADAL" clId="{B825B95D-54C2-4B80-808B-EC430A6636F0}" dt="2021-09-24T09:37:13.964" v="6492"/>
          <ac:spMkLst>
            <pc:docMk/>
            <pc:sldMk cId="2715760571" sldId="311"/>
            <ac:spMk id="171" creationId="{243149C3-F9D2-4D9A-B60A-073600B15D7B}"/>
          </ac:spMkLst>
        </pc:spChg>
        <pc:spChg chg="mod ord">
          <ac:chgData name="PROVENCHERE Sandrine" userId="ad1decff-d2ce-4d29-9d90-3591b80bc438" providerId="ADAL" clId="{B825B95D-54C2-4B80-808B-EC430A6636F0}" dt="2021-09-24T09:37:13.962" v="6488"/>
          <ac:spMkLst>
            <pc:docMk/>
            <pc:sldMk cId="2715760571" sldId="311"/>
            <ac:spMk id="172" creationId="{D6213BE2-F83F-42F2-AEF3-1C7E0C020E0C}"/>
          </ac:spMkLst>
        </pc:spChg>
        <pc:spChg chg="mod">
          <ac:chgData name="PROVENCHERE Sandrine" userId="ad1decff-d2ce-4d29-9d90-3591b80bc438" providerId="ADAL" clId="{B825B95D-54C2-4B80-808B-EC430A6636F0}" dt="2021-09-24T09:37:13.965" v="6499"/>
          <ac:spMkLst>
            <pc:docMk/>
            <pc:sldMk cId="2715760571" sldId="311"/>
            <ac:spMk id="173" creationId="{7DB56D33-38DD-4C6B-AC78-566A167A3FEC}"/>
          </ac:spMkLst>
        </pc:spChg>
        <pc:spChg chg="mod">
          <ac:chgData name="PROVENCHERE Sandrine" userId="ad1decff-d2ce-4d29-9d90-3591b80bc438" providerId="ADAL" clId="{B825B95D-54C2-4B80-808B-EC430A6636F0}" dt="2021-09-24T09:37:13.974" v="6521"/>
          <ac:spMkLst>
            <pc:docMk/>
            <pc:sldMk cId="2715760571" sldId="311"/>
            <ac:spMk id="174" creationId="{030F21D3-A9A5-47DD-8F6A-1F8E23FCB6A2}"/>
          </ac:spMkLst>
        </pc:spChg>
        <pc:spChg chg="mod ord">
          <ac:chgData name="PROVENCHERE Sandrine" userId="ad1decff-d2ce-4d29-9d90-3591b80bc438" providerId="ADAL" clId="{B825B95D-54C2-4B80-808B-EC430A6636F0}" dt="2021-09-24T09:37:13.974" v="6526"/>
          <ac:spMkLst>
            <pc:docMk/>
            <pc:sldMk cId="2715760571" sldId="311"/>
            <ac:spMk id="175" creationId="{2F8499CF-F49D-461C-BD71-574CC84B301F}"/>
          </ac:spMkLst>
        </pc:spChg>
        <pc:spChg chg="del">
          <ac:chgData name="PROVENCHERE Sandrine" userId="ad1decff-d2ce-4d29-9d90-3591b80bc438" providerId="ADAL" clId="{B825B95D-54C2-4B80-808B-EC430A6636F0}" dt="2021-09-21T13:01:16.636" v="935"/>
          <ac:spMkLst>
            <pc:docMk/>
            <pc:sldMk cId="2715760571" sldId="311"/>
            <ac:spMk id="176" creationId="{D2CF20E8-6544-4F7C-B409-8CB742031E55}"/>
          </ac:spMkLst>
        </pc:spChg>
        <pc:spChg chg="mod">
          <ac:chgData name="PROVENCHERE Sandrine" userId="ad1decff-d2ce-4d29-9d90-3591b80bc438" providerId="ADAL" clId="{B825B95D-54C2-4B80-808B-EC430A6636F0}" dt="2021-09-24T09:37:13.954" v="6484"/>
          <ac:spMkLst>
            <pc:docMk/>
            <pc:sldMk cId="2715760571" sldId="311"/>
            <ac:spMk id="177" creationId="{59E56C5E-C398-4AB8-9E25-9801882A83FD}"/>
          </ac:spMkLst>
        </pc:spChg>
        <pc:spChg chg="mod ord">
          <ac:chgData name="PROVENCHERE Sandrine" userId="ad1decff-d2ce-4d29-9d90-3591b80bc438" providerId="ADAL" clId="{B825B95D-54C2-4B80-808B-EC430A6636F0}" dt="2021-09-24T09:37:13.984" v="6532"/>
          <ac:spMkLst>
            <pc:docMk/>
            <pc:sldMk cId="2715760571" sldId="311"/>
            <ac:spMk id="178" creationId="{CADEE7B2-857C-45C5-9C95-0F75246A8880}"/>
          </ac:spMkLst>
        </pc:spChg>
        <pc:spChg chg="mod">
          <ac:chgData name="PROVENCHERE Sandrine" userId="ad1decff-d2ce-4d29-9d90-3591b80bc438" providerId="ADAL" clId="{B825B95D-54C2-4B80-808B-EC430A6636F0}" dt="2021-09-24T09:37:13.954" v="6483"/>
          <ac:spMkLst>
            <pc:docMk/>
            <pc:sldMk cId="2715760571" sldId="311"/>
            <ac:spMk id="179" creationId="{8837CD83-9A90-4F1F-9C41-A9D386AE81A8}"/>
          </ac:spMkLst>
        </pc:spChg>
        <pc:spChg chg="mod">
          <ac:chgData name="PROVENCHERE Sandrine" userId="ad1decff-d2ce-4d29-9d90-3591b80bc438" providerId="ADAL" clId="{B825B95D-54C2-4B80-808B-EC430A6636F0}" dt="2021-09-24T09:37:13.954" v="6485"/>
          <ac:spMkLst>
            <pc:docMk/>
            <pc:sldMk cId="2715760571" sldId="311"/>
            <ac:spMk id="180" creationId="{1F37C3BB-E3C2-482F-B5B4-7024EAC582E6}"/>
          </ac:spMkLst>
        </pc:spChg>
        <pc:spChg chg="mod">
          <ac:chgData name="PROVENCHERE Sandrine" userId="ad1decff-d2ce-4d29-9d90-3591b80bc438" providerId="ADAL" clId="{B825B95D-54C2-4B80-808B-EC430A6636F0}" dt="2021-09-24T09:37:13.954" v="6486"/>
          <ac:spMkLst>
            <pc:docMk/>
            <pc:sldMk cId="2715760571" sldId="311"/>
            <ac:spMk id="181" creationId="{51768A0B-0C85-4FAE-9D46-00462015D554}"/>
          </ac:spMkLst>
        </pc:spChg>
        <pc:spChg chg="mod ord">
          <ac:chgData name="PROVENCHERE Sandrine" userId="ad1decff-d2ce-4d29-9d90-3591b80bc438" providerId="ADAL" clId="{B825B95D-54C2-4B80-808B-EC430A6636F0}" dt="2021-09-24T09:37:13.994" v="6579"/>
          <ac:spMkLst>
            <pc:docMk/>
            <pc:sldMk cId="2715760571" sldId="311"/>
            <ac:spMk id="187" creationId="{2BBCB42D-7904-4000-802F-1AF38302679F}"/>
          </ac:spMkLst>
        </pc:spChg>
        <pc:spChg chg="del mod ord">
          <ac:chgData name="PROVENCHERE Sandrine" userId="ad1decff-d2ce-4d29-9d90-3591b80bc438" providerId="ADAL" clId="{B825B95D-54C2-4B80-808B-EC430A6636F0}" dt="2021-09-21T13:04:48.470" v="2513" actId="478"/>
          <ac:spMkLst>
            <pc:docMk/>
            <pc:sldMk cId="2715760571" sldId="311"/>
            <ac:spMk id="188" creationId="{B233AC82-61AF-4922-9585-CDF930F28EA9}"/>
          </ac:spMkLst>
        </pc:spChg>
        <pc:spChg chg="mod">
          <ac:chgData name="PROVENCHERE Sandrine" userId="ad1decff-d2ce-4d29-9d90-3591b80bc438" providerId="ADAL" clId="{B825B95D-54C2-4B80-808B-EC430A6636F0}" dt="2021-09-24T09:49:58.305" v="6946"/>
          <ac:spMkLst>
            <pc:docMk/>
            <pc:sldMk cId="2715760571" sldId="311"/>
            <ac:spMk id="189" creationId="{B01DB2A9-A92F-4586-831D-33B5896BCA5C}"/>
          </ac:spMkLst>
        </pc:spChg>
        <pc:spChg chg="mod">
          <ac:chgData name="PROVENCHERE Sandrine" userId="ad1decff-d2ce-4d29-9d90-3591b80bc438" providerId="ADAL" clId="{B825B95D-54C2-4B80-808B-EC430A6636F0}" dt="2021-09-24T09:49:58.305" v="6943"/>
          <ac:spMkLst>
            <pc:docMk/>
            <pc:sldMk cId="2715760571" sldId="311"/>
            <ac:spMk id="190" creationId="{F5A2143A-6566-4A28-962A-36C5BC69439B}"/>
          </ac:spMkLst>
        </pc:spChg>
        <pc:spChg chg="mod">
          <ac:chgData name="PROVENCHERE Sandrine" userId="ad1decff-d2ce-4d29-9d90-3591b80bc438" providerId="ADAL" clId="{B825B95D-54C2-4B80-808B-EC430A6636F0}" dt="2021-09-24T09:49:58.305" v="6945"/>
          <ac:spMkLst>
            <pc:docMk/>
            <pc:sldMk cId="2715760571" sldId="311"/>
            <ac:spMk id="191" creationId="{ACEBC4E5-6B0C-4744-BF37-FAFC6AC237BE}"/>
          </ac:spMkLst>
        </pc:spChg>
        <pc:spChg chg="mod">
          <ac:chgData name="PROVENCHERE Sandrine" userId="ad1decff-d2ce-4d29-9d90-3591b80bc438" providerId="ADAL" clId="{B825B95D-54C2-4B80-808B-EC430A6636F0}" dt="2021-09-24T09:49:58.305" v="6944"/>
          <ac:spMkLst>
            <pc:docMk/>
            <pc:sldMk cId="2715760571" sldId="311"/>
            <ac:spMk id="192" creationId="{9F264F68-D439-43F3-A08D-DC68A263720D}"/>
          </ac:spMkLst>
        </pc:spChg>
        <pc:spChg chg="del mod ord">
          <ac:chgData name="PROVENCHERE Sandrine" userId="ad1decff-d2ce-4d29-9d90-3591b80bc438" providerId="ADAL" clId="{B825B95D-54C2-4B80-808B-EC430A6636F0}" dt="2021-09-21T13:04:46.210" v="2512" actId="478"/>
          <ac:spMkLst>
            <pc:docMk/>
            <pc:sldMk cId="2715760571" sldId="311"/>
            <ac:spMk id="193" creationId="{7B7BA3D8-699D-46E4-809D-8C67089C0A5B}"/>
          </ac:spMkLst>
        </pc:spChg>
        <pc:spChg chg="add mod">
          <ac:chgData name="PROVENCHERE Sandrine" userId="ad1decff-d2ce-4d29-9d90-3591b80bc438" providerId="ADAL" clId="{B825B95D-54C2-4B80-808B-EC430A6636F0}" dt="2021-09-24T09:37:13.972" v="6507"/>
          <ac:spMkLst>
            <pc:docMk/>
            <pc:sldMk cId="2715760571" sldId="311"/>
            <ac:spMk id="194" creationId="{0A616563-7977-47D0-B4F3-7AE2898D4097}"/>
          </ac:spMkLst>
        </pc:spChg>
        <pc:spChg chg="add del mod">
          <ac:chgData name="PROVENCHERE Sandrine" userId="ad1decff-d2ce-4d29-9d90-3591b80bc438" providerId="ADAL" clId="{B825B95D-54C2-4B80-808B-EC430A6636F0}" dt="2021-09-21T13:01:17.226" v="1417"/>
          <ac:spMkLst>
            <pc:docMk/>
            <pc:sldMk cId="2715760571" sldId="311"/>
            <ac:spMk id="195" creationId="{1E2DA1E5-71E9-459F-9A5A-57FF5CE17723}"/>
          </ac:spMkLst>
        </pc:spChg>
        <pc:spChg chg="mod ord">
          <ac:chgData name="PROVENCHERE Sandrine" userId="ad1decff-d2ce-4d29-9d90-3591b80bc438" providerId="ADAL" clId="{B825B95D-54C2-4B80-808B-EC430A6636F0}" dt="2021-09-24T09:37:13.984" v="6536"/>
          <ac:spMkLst>
            <pc:docMk/>
            <pc:sldMk cId="2715760571" sldId="311"/>
            <ac:spMk id="196" creationId="{84F31653-A97B-4861-9302-AAF39B6BE33B}"/>
          </ac:spMkLst>
        </pc:spChg>
        <pc:spChg chg="mod">
          <ac:chgData name="PROVENCHERE Sandrine" userId="ad1decff-d2ce-4d29-9d90-3591b80bc438" providerId="ADAL" clId="{B825B95D-54C2-4B80-808B-EC430A6636F0}" dt="2021-09-24T09:37:13.984" v="6539"/>
          <ac:spMkLst>
            <pc:docMk/>
            <pc:sldMk cId="2715760571" sldId="311"/>
            <ac:spMk id="197" creationId="{269FA514-7E09-4851-878B-A7DF41C04C12}"/>
          </ac:spMkLst>
        </pc:spChg>
        <pc:spChg chg="mod">
          <ac:chgData name="PROVENCHERE Sandrine" userId="ad1decff-d2ce-4d29-9d90-3591b80bc438" providerId="ADAL" clId="{B825B95D-54C2-4B80-808B-EC430A6636F0}" dt="2021-09-24T09:37:13.974" v="6523"/>
          <ac:spMkLst>
            <pc:docMk/>
            <pc:sldMk cId="2715760571" sldId="311"/>
            <ac:spMk id="198" creationId="{2CCDC18F-0248-43B2-92DE-CE2D93D2CAED}"/>
          </ac:spMkLst>
        </pc:spChg>
        <pc:spChg chg="mod">
          <ac:chgData name="PROVENCHERE Sandrine" userId="ad1decff-d2ce-4d29-9d90-3591b80bc438" providerId="ADAL" clId="{B825B95D-54C2-4B80-808B-EC430A6636F0}" dt="2021-09-24T09:37:13.965" v="6500"/>
          <ac:spMkLst>
            <pc:docMk/>
            <pc:sldMk cId="2715760571" sldId="311"/>
            <ac:spMk id="199" creationId="{D12FEA10-F966-47C4-B7BA-75D9F21C8E56}"/>
          </ac:spMkLst>
        </pc:spChg>
        <pc:spChg chg="mod ord">
          <ac:chgData name="PROVENCHERE Sandrine" userId="ad1decff-d2ce-4d29-9d90-3591b80bc438" providerId="ADAL" clId="{B825B95D-54C2-4B80-808B-EC430A6636F0}" dt="2021-09-24T09:37:13.965" v="6502"/>
          <ac:spMkLst>
            <pc:docMk/>
            <pc:sldMk cId="2715760571" sldId="311"/>
            <ac:spMk id="200" creationId="{F923AE85-757B-4385-B523-F3EC007ED840}"/>
          </ac:spMkLst>
        </pc:spChg>
        <pc:spChg chg="mod ord">
          <ac:chgData name="PROVENCHERE Sandrine" userId="ad1decff-d2ce-4d29-9d90-3591b80bc438" providerId="ADAL" clId="{B825B95D-54C2-4B80-808B-EC430A6636F0}" dt="2021-09-24T09:37:13.965" v="6506"/>
          <ac:spMkLst>
            <pc:docMk/>
            <pc:sldMk cId="2715760571" sldId="311"/>
            <ac:spMk id="201" creationId="{E64A26F2-ADE2-4485-B231-2EC15796C5C9}"/>
          </ac:spMkLst>
        </pc:spChg>
        <pc:spChg chg="add mod ord">
          <ac:chgData name="PROVENCHERE Sandrine" userId="ad1decff-d2ce-4d29-9d90-3591b80bc438" providerId="ADAL" clId="{B825B95D-54C2-4B80-808B-EC430A6636F0}" dt="2021-09-24T09:37:13.954" v="6482"/>
          <ac:spMkLst>
            <pc:docMk/>
            <pc:sldMk cId="2715760571" sldId="311"/>
            <ac:spMk id="202" creationId="{2144720E-D780-4246-81C4-BADFEA1A9980}"/>
          </ac:spMkLst>
        </pc:spChg>
        <pc:spChg chg="add mod">
          <ac:chgData name="PROVENCHERE Sandrine" userId="ad1decff-d2ce-4d29-9d90-3591b80bc438" providerId="ADAL" clId="{B825B95D-54C2-4B80-808B-EC430A6636F0}" dt="2021-09-24T09:37:13.984" v="6543"/>
          <ac:spMkLst>
            <pc:docMk/>
            <pc:sldMk cId="2715760571" sldId="311"/>
            <ac:spMk id="205" creationId="{FF4E99C7-E06D-4BF8-8923-A237F58B3A0F}"/>
          </ac:spMkLst>
        </pc:spChg>
        <pc:spChg chg="del mod ord">
          <ac:chgData name="PROVENCHERE Sandrine" userId="ad1decff-d2ce-4d29-9d90-3591b80bc438" providerId="ADAL" clId="{B825B95D-54C2-4B80-808B-EC430A6636F0}" dt="2021-09-21T13:04:46.210" v="2512" actId="478"/>
          <ac:spMkLst>
            <pc:docMk/>
            <pc:sldMk cId="2715760571" sldId="311"/>
            <ac:spMk id="206" creationId="{157BCBAA-8D5A-4B20-A703-D44CEC7ACC46}"/>
          </ac:spMkLst>
        </pc:spChg>
        <pc:spChg chg="del mod">
          <ac:chgData name="PROVENCHERE Sandrine" userId="ad1decff-d2ce-4d29-9d90-3591b80bc438" providerId="ADAL" clId="{B825B95D-54C2-4B80-808B-EC430A6636F0}" dt="2021-09-21T13:01:22.536" v="1767"/>
          <ac:spMkLst>
            <pc:docMk/>
            <pc:sldMk cId="2715760571" sldId="311"/>
            <ac:spMk id="207" creationId="{A2CDCF67-B711-4268-8E61-45FC8FF89FAC}"/>
          </ac:spMkLst>
        </pc:spChg>
        <pc:spChg chg="mod">
          <ac:chgData name="PROVENCHERE Sandrine" userId="ad1decff-d2ce-4d29-9d90-3591b80bc438" providerId="ADAL" clId="{B825B95D-54C2-4B80-808B-EC430A6636F0}" dt="2021-09-24T09:37:13.974" v="6524"/>
          <ac:spMkLst>
            <pc:docMk/>
            <pc:sldMk cId="2715760571" sldId="311"/>
            <ac:spMk id="208" creationId="{5B994944-A03C-4359-A908-BF6DED65B008}"/>
          </ac:spMkLst>
        </pc:spChg>
        <pc:spChg chg="mod">
          <ac:chgData name="PROVENCHERE Sandrine" userId="ad1decff-d2ce-4d29-9d90-3591b80bc438" providerId="ADAL" clId="{B825B95D-54C2-4B80-808B-EC430A6636F0}" dt="2021-09-24T09:37:13.974" v="6522"/>
          <ac:spMkLst>
            <pc:docMk/>
            <pc:sldMk cId="2715760571" sldId="311"/>
            <ac:spMk id="209" creationId="{A8B28EDB-6ED8-4579-8290-518176A683A6}"/>
          </ac:spMkLst>
        </pc:spChg>
        <pc:spChg chg="mod">
          <ac:chgData name="PROVENCHERE Sandrine" userId="ad1decff-d2ce-4d29-9d90-3591b80bc438" providerId="ADAL" clId="{B825B95D-54C2-4B80-808B-EC430A6636F0}" dt="2021-09-24T09:37:13.982" v="6528"/>
          <ac:spMkLst>
            <pc:docMk/>
            <pc:sldMk cId="2715760571" sldId="311"/>
            <ac:spMk id="210" creationId="{DAB6CB2B-E08A-4815-86A0-F45034590DC7}"/>
          </ac:spMkLst>
        </pc:spChg>
        <pc:spChg chg="del mod ord">
          <ac:chgData name="PROVENCHERE Sandrine" userId="ad1decff-d2ce-4d29-9d90-3591b80bc438" providerId="ADAL" clId="{B825B95D-54C2-4B80-808B-EC430A6636F0}" dt="2021-09-21T13:04:46.210" v="2512" actId="478"/>
          <ac:spMkLst>
            <pc:docMk/>
            <pc:sldMk cId="2715760571" sldId="311"/>
            <ac:spMk id="211" creationId="{1529A971-253A-4069-AA3C-E8F2142DE640}"/>
          </ac:spMkLst>
        </pc:spChg>
        <pc:spChg chg="mod">
          <ac:chgData name="PROVENCHERE Sandrine" userId="ad1decff-d2ce-4d29-9d90-3591b80bc438" providerId="ADAL" clId="{B825B95D-54C2-4B80-808B-EC430A6636F0}" dt="2021-09-24T09:37:13.982" v="6529"/>
          <ac:spMkLst>
            <pc:docMk/>
            <pc:sldMk cId="2715760571" sldId="311"/>
            <ac:spMk id="213" creationId="{437864A9-D6E5-48E0-AC22-8B1AC2C2796D}"/>
          </ac:spMkLst>
        </pc:spChg>
        <pc:spChg chg="mod">
          <ac:chgData name="PROVENCHERE Sandrine" userId="ad1decff-d2ce-4d29-9d90-3591b80bc438" providerId="ADAL" clId="{B825B95D-54C2-4B80-808B-EC430A6636F0}" dt="2021-09-24T09:49:58.314" v="6947"/>
          <ac:spMkLst>
            <pc:docMk/>
            <pc:sldMk cId="2715760571" sldId="311"/>
            <ac:spMk id="219" creationId="{1237313B-74C6-4A9C-BE55-54FA251AAA46}"/>
          </ac:spMkLst>
        </pc:spChg>
        <pc:spChg chg="mod">
          <ac:chgData name="PROVENCHERE Sandrine" userId="ad1decff-d2ce-4d29-9d90-3591b80bc438" providerId="ADAL" clId="{B825B95D-54C2-4B80-808B-EC430A6636F0}" dt="2021-09-24T09:49:58.314" v="6948"/>
          <ac:spMkLst>
            <pc:docMk/>
            <pc:sldMk cId="2715760571" sldId="311"/>
            <ac:spMk id="220" creationId="{D9357BDD-CA71-4441-881F-B5695BCE28FB}"/>
          </ac:spMkLst>
        </pc:spChg>
        <pc:spChg chg="mod">
          <ac:chgData name="PROVENCHERE Sandrine" userId="ad1decff-d2ce-4d29-9d90-3591b80bc438" providerId="ADAL" clId="{B825B95D-54C2-4B80-808B-EC430A6636F0}" dt="2021-09-24T09:49:58.314" v="6950"/>
          <ac:spMkLst>
            <pc:docMk/>
            <pc:sldMk cId="2715760571" sldId="311"/>
            <ac:spMk id="221" creationId="{124915EF-63E7-40CB-B698-47D47CF3DCCE}"/>
          </ac:spMkLst>
        </pc:spChg>
        <pc:spChg chg="mod">
          <ac:chgData name="PROVENCHERE Sandrine" userId="ad1decff-d2ce-4d29-9d90-3591b80bc438" providerId="ADAL" clId="{B825B95D-54C2-4B80-808B-EC430A6636F0}" dt="2021-09-24T09:49:58.314" v="6949"/>
          <ac:spMkLst>
            <pc:docMk/>
            <pc:sldMk cId="2715760571" sldId="311"/>
            <ac:spMk id="222" creationId="{CFF557F7-830D-4248-9720-030560BFA261}"/>
          </ac:spMkLst>
        </pc:spChg>
        <pc:spChg chg="mod">
          <ac:chgData name="PROVENCHERE Sandrine" userId="ad1decff-d2ce-4d29-9d90-3591b80bc438" providerId="ADAL" clId="{B825B95D-54C2-4B80-808B-EC430A6636F0}" dt="2021-09-24T09:37:13.984" v="6542"/>
          <ac:spMkLst>
            <pc:docMk/>
            <pc:sldMk cId="2715760571" sldId="311"/>
            <ac:spMk id="223" creationId="{28F45D01-126B-4D3B-8CA7-B7A4C3FC4C2C}"/>
          </ac:spMkLst>
        </pc:spChg>
        <pc:spChg chg="mod ord">
          <ac:chgData name="PROVENCHERE Sandrine" userId="ad1decff-d2ce-4d29-9d90-3591b80bc438" providerId="ADAL" clId="{B825B95D-54C2-4B80-808B-EC430A6636F0}" dt="2021-09-24T09:37:13.965" v="6497"/>
          <ac:spMkLst>
            <pc:docMk/>
            <pc:sldMk cId="2715760571" sldId="311"/>
            <ac:spMk id="225" creationId="{7C69B050-26D8-48A8-8232-9F11ABE056BE}"/>
          </ac:spMkLst>
        </pc:spChg>
        <pc:spChg chg="add del mod">
          <ac:chgData name="PROVENCHERE Sandrine" userId="ad1decff-d2ce-4d29-9d90-3591b80bc438" providerId="ADAL" clId="{B825B95D-54C2-4B80-808B-EC430A6636F0}" dt="2021-09-21T13:01:22.945" v="2105"/>
          <ac:spMkLst>
            <pc:docMk/>
            <pc:sldMk cId="2715760571" sldId="311"/>
            <ac:spMk id="227" creationId="{58191594-0CEC-4D5E-A043-74B4477041A1}"/>
          </ac:spMkLst>
        </pc:spChg>
        <pc:spChg chg="mod">
          <ac:chgData name="PROVENCHERE Sandrine" userId="ad1decff-d2ce-4d29-9d90-3591b80bc438" providerId="ADAL" clId="{B825B95D-54C2-4B80-808B-EC430A6636F0}" dt="2021-09-24T09:37:13.984" v="6534"/>
          <ac:spMkLst>
            <pc:docMk/>
            <pc:sldMk cId="2715760571" sldId="311"/>
            <ac:spMk id="230" creationId="{CF8826F4-867C-4AD5-9C44-1ADE6129DDD9}"/>
          </ac:spMkLst>
        </pc:spChg>
        <pc:spChg chg="del mod ord">
          <ac:chgData name="PROVENCHERE Sandrine" userId="ad1decff-d2ce-4d29-9d90-3591b80bc438" providerId="ADAL" clId="{B825B95D-54C2-4B80-808B-EC430A6636F0}" dt="2021-09-21T13:01:22.536" v="1766"/>
          <ac:spMkLst>
            <pc:docMk/>
            <pc:sldMk cId="2715760571" sldId="311"/>
            <ac:spMk id="231" creationId="{78C85666-2E19-4B87-AD45-13B5DFE8DCA4}"/>
          </ac:spMkLst>
        </pc:spChg>
        <pc:spChg chg="mod ord">
          <ac:chgData name="PROVENCHERE Sandrine" userId="ad1decff-d2ce-4d29-9d90-3591b80bc438" providerId="ADAL" clId="{B825B95D-54C2-4B80-808B-EC430A6636F0}" dt="2021-09-24T09:37:13.984" v="6538"/>
          <ac:spMkLst>
            <pc:docMk/>
            <pc:sldMk cId="2715760571" sldId="311"/>
            <ac:spMk id="232" creationId="{ADB348D0-7624-433F-B531-E77AAD87473B}"/>
          </ac:spMkLst>
        </pc:spChg>
        <pc:spChg chg="mod">
          <ac:chgData name="PROVENCHERE Sandrine" userId="ad1decff-d2ce-4d29-9d90-3591b80bc438" providerId="ADAL" clId="{B825B95D-54C2-4B80-808B-EC430A6636F0}" dt="2021-09-21T13:03:27.881" v="2503" actId="12788"/>
          <ac:spMkLst>
            <pc:docMk/>
            <pc:sldMk cId="2715760571" sldId="311"/>
            <ac:spMk id="233" creationId="{724B377D-C72C-41E1-87C6-B1331121494C}"/>
          </ac:spMkLst>
        </pc:spChg>
        <pc:spChg chg="mod ord">
          <ac:chgData name="PROVENCHERE Sandrine" userId="ad1decff-d2ce-4d29-9d90-3591b80bc438" providerId="ADAL" clId="{B825B95D-54C2-4B80-808B-EC430A6636F0}" dt="2021-09-24T09:37:14.004" v="6617"/>
          <ac:spMkLst>
            <pc:docMk/>
            <pc:sldMk cId="2715760571" sldId="311"/>
            <ac:spMk id="241" creationId="{60E0184D-3E44-45FF-8DCD-30320905649A}"/>
          </ac:spMkLst>
        </pc:spChg>
        <pc:spChg chg="mod ord">
          <ac:chgData name="PROVENCHERE Sandrine" userId="ad1decff-d2ce-4d29-9d90-3591b80bc438" providerId="ADAL" clId="{B825B95D-54C2-4B80-808B-EC430A6636F0}" dt="2021-09-24T09:37:14.004" v="6619"/>
          <ac:spMkLst>
            <pc:docMk/>
            <pc:sldMk cId="2715760571" sldId="311"/>
            <ac:spMk id="242" creationId="{CDC85699-793F-4A70-B9B6-9D55CF5F68E1}"/>
          </ac:spMkLst>
        </pc:spChg>
        <pc:spChg chg="mod">
          <ac:chgData name="PROVENCHERE Sandrine" userId="ad1decff-d2ce-4d29-9d90-3591b80bc438" providerId="ADAL" clId="{B825B95D-54C2-4B80-808B-EC430A6636F0}" dt="2021-09-21T13:03:44.042" v="2506"/>
          <ac:spMkLst>
            <pc:docMk/>
            <pc:sldMk cId="2715760571" sldId="311"/>
            <ac:spMk id="243" creationId="{237C0E01-5491-432C-9A90-A8DD9A803B2E}"/>
          </ac:spMkLst>
        </pc:spChg>
        <pc:spChg chg="mod">
          <ac:chgData name="PROVENCHERE Sandrine" userId="ad1decff-d2ce-4d29-9d90-3591b80bc438" providerId="ADAL" clId="{B825B95D-54C2-4B80-808B-EC430A6636F0}" dt="2021-09-24T09:37:13.944" v="6446"/>
          <ac:spMkLst>
            <pc:docMk/>
            <pc:sldMk cId="2715760571" sldId="311"/>
            <ac:spMk id="244" creationId="{44704398-683D-48B0-AC44-89855D366DAB}"/>
          </ac:spMkLst>
        </pc:spChg>
        <pc:spChg chg="mod ord">
          <ac:chgData name="PROVENCHERE Sandrine" userId="ad1decff-d2ce-4d29-9d90-3591b80bc438" providerId="ADAL" clId="{B825B95D-54C2-4B80-808B-EC430A6636F0}" dt="2021-09-24T09:37:13.984" v="6541"/>
          <ac:spMkLst>
            <pc:docMk/>
            <pc:sldMk cId="2715760571" sldId="311"/>
            <ac:spMk id="246" creationId="{5480C29B-7193-449F-A0FE-8AAB28454918}"/>
          </ac:spMkLst>
        </pc:spChg>
        <pc:spChg chg="mod ord">
          <ac:chgData name="PROVENCHERE Sandrine" userId="ad1decff-d2ce-4d29-9d90-3591b80bc438" providerId="ADAL" clId="{B825B95D-54C2-4B80-808B-EC430A6636F0}" dt="2021-09-24T09:37:13.944" v="6444"/>
          <ac:spMkLst>
            <pc:docMk/>
            <pc:sldMk cId="2715760571" sldId="311"/>
            <ac:spMk id="248" creationId="{D4A80F1B-4E5E-4901-A7A0-CABD12E65445}"/>
          </ac:spMkLst>
        </pc:spChg>
        <pc:spChg chg="mod">
          <ac:chgData name="PROVENCHERE Sandrine" userId="ad1decff-d2ce-4d29-9d90-3591b80bc438" providerId="ADAL" clId="{B825B95D-54C2-4B80-808B-EC430A6636F0}" dt="2021-09-24T09:37:13.944" v="6450"/>
          <ac:spMkLst>
            <pc:docMk/>
            <pc:sldMk cId="2715760571" sldId="311"/>
            <ac:spMk id="250" creationId="{310F3317-B6FE-436B-A317-50F2F752A604}"/>
          </ac:spMkLst>
        </pc:spChg>
        <pc:spChg chg="mod">
          <ac:chgData name="PROVENCHERE Sandrine" userId="ad1decff-d2ce-4d29-9d90-3591b80bc438" providerId="ADAL" clId="{B825B95D-54C2-4B80-808B-EC430A6636F0}" dt="2021-09-21T13:03:44.042" v="2506"/>
          <ac:spMkLst>
            <pc:docMk/>
            <pc:sldMk cId="2715760571" sldId="311"/>
            <ac:spMk id="255" creationId="{8F6E631F-68C3-409A-9DAF-2F5C744333B7}"/>
          </ac:spMkLst>
        </pc:spChg>
        <pc:spChg chg="add mod ord">
          <ac:chgData name="PROVENCHERE Sandrine" userId="ad1decff-d2ce-4d29-9d90-3591b80bc438" providerId="ADAL" clId="{B825B95D-54C2-4B80-808B-EC430A6636F0}" dt="2021-09-24T09:37:14.012" v="6627"/>
          <ac:spMkLst>
            <pc:docMk/>
            <pc:sldMk cId="2715760571" sldId="311"/>
            <ac:spMk id="257" creationId="{5D03E258-852E-41C6-A6E6-DDC6914F81E3}"/>
          </ac:spMkLst>
        </pc:spChg>
        <pc:spChg chg="mod ord">
          <ac:chgData name="PROVENCHERE Sandrine" userId="ad1decff-d2ce-4d29-9d90-3591b80bc438" providerId="ADAL" clId="{B825B95D-54C2-4B80-808B-EC430A6636F0}" dt="2021-09-24T09:37:13.927" v="6404"/>
          <ac:spMkLst>
            <pc:docMk/>
            <pc:sldMk cId="2715760571" sldId="311"/>
            <ac:spMk id="259" creationId="{23E859CE-D762-473B-A6A4-43916782E141}"/>
          </ac:spMkLst>
        </pc:spChg>
        <pc:spChg chg="mod ord">
          <ac:chgData name="PROVENCHERE Sandrine" userId="ad1decff-d2ce-4d29-9d90-3591b80bc438" providerId="ADAL" clId="{B825B95D-54C2-4B80-808B-EC430A6636F0}" dt="2021-09-24T09:37:13.994" v="6563"/>
          <ac:spMkLst>
            <pc:docMk/>
            <pc:sldMk cId="2715760571" sldId="311"/>
            <ac:spMk id="260" creationId="{EC730ABB-01FC-4F7B-BC43-D750336F74D7}"/>
          </ac:spMkLst>
        </pc:spChg>
        <pc:spChg chg="mod ord">
          <ac:chgData name="PROVENCHERE Sandrine" userId="ad1decff-d2ce-4d29-9d90-3591b80bc438" providerId="ADAL" clId="{B825B95D-54C2-4B80-808B-EC430A6636F0}" dt="2021-09-24T09:37:13.994" v="6565"/>
          <ac:spMkLst>
            <pc:docMk/>
            <pc:sldMk cId="2715760571" sldId="311"/>
            <ac:spMk id="261" creationId="{A10A4420-66C8-42DE-82D1-BEFFB2419C97}"/>
          </ac:spMkLst>
        </pc:spChg>
        <pc:spChg chg="mod ord">
          <ac:chgData name="PROVENCHERE Sandrine" userId="ad1decff-d2ce-4d29-9d90-3591b80bc438" providerId="ADAL" clId="{B825B95D-54C2-4B80-808B-EC430A6636F0}" dt="2021-09-24T09:37:13.994" v="6567"/>
          <ac:spMkLst>
            <pc:docMk/>
            <pc:sldMk cId="2715760571" sldId="311"/>
            <ac:spMk id="262" creationId="{37A8C09C-710F-48E5-AF07-424C5D583BDF}"/>
          </ac:spMkLst>
        </pc:spChg>
        <pc:spChg chg="mod ord">
          <ac:chgData name="PROVENCHERE Sandrine" userId="ad1decff-d2ce-4d29-9d90-3591b80bc438" providerId="ADAL" clId="{B825B95D-54C2-4B80-808B-EC430A6636F0}" dt="2021-09-24T09:37:13.994" v="6569"/>
          <ac:spMkLst>
            <pc:docMk/>
            <pc:sldMk cId="2715760571" sldId="311"/>
            <ac:spMk id="263" creationId="{54604176-CFA7-41D5-BE94-A3AE78B7F4C2}"/>
          </ac:spMkLst>
        </pc:spChg>
        <pc:spChg chg="mod ord">
          <ac:chgData name="PROVENCHERE Sandrine" userId="ad1decff-d2ce-4d29-9d90-3591b80bc438" providerId="ADAL" clId="{B825B95D-54C2-4B80-808B-EC430A6636F0}" dt="2021-09-24T09:37:13.994" v="6571"/>
          <ac:spMkLst>
            <pc:docMk/>
            <pc:sldMk cId="2715760571" sldId="311"/>
            <ac:spMk id="264" creationId="{E165D15C-4633-4830-B94D-6C1F5067BE22}"/>
          </ac:spMkLst>
        </pc:spChg>
        <pc:spChg chg="add mod ord">
          <ac:chgData name="PROVENCHERE Sandrine" userId="ad1decff-d2ce-4d29-9d90-3591b80bc438" providerId="ADAL" clId="{B825B95D-54C2-4B80-808B-EC430A6636F0}" dt="2021-09-24T09:37:14.014" v="6629"/>
          <ac:spMkLst>
            <pc:docMk/>
            <pc:sldMk cId="2715760571" sldId="311"/>
            <ac:spMk id="267" creationId="{C49FCF00-D4FB-49DD-81EA-E4E96B6CD637}"/>
          </ac:spMkLst>
        </pc:spChg>
        <pc:spChg chg="mod ord">
          <ac:chgData name="PROVENCHERE Sandrine" userId="ad1decff-d2ce-4d29-9d90-3591b80bc438" providerId="ADAL" clId="{B825B95D-54C2-4B80-808B-EC430A6636F0}" dt="2021-09-24T09:37:13.994" v="6577"/>
          <ac:spMkLst>
            <pc:docMk/>
            <pc:sldMk cId="2715760571" sldId="311"/>
            <ac:spMk id="268" creationId="{6A2D1725-9C14-496A-BCDA-9B2E63233BDD}"/>
          </ac:spMkLst>
        </pc:spChg>
        <pc:spChg chg="add mod ord">
          <ac:chgData name="PROVENCHERE Sandrine" userId="ad1decff-d2ce-4d29-9d90-3591b80bc438" providerId="ADAL" clId="{B825B95D-54C2-4B80-808B-EC430A6636F0}" dt="2021-09-24T09:37:14.014" v="6635"/>
          <ac:spMkLst>
            <pc:docMk/>
            <pc:sldMk cId="2715760571" sldId="311"/>
            <ac:spMk id="275" creationId="{F0A72C28-CB29-4FEA-85F5-C8445BB9BCEB}"/>
          </ac:spMkLst>
        </pc:spChg>
        <pc:spChg chg="mod ord">
          <ac:chgData name="PROVENCHERE Sandrine" userId="ad1decff-d2ce-4d29-9d90-3591b80bc438" providerId="ADAL" clId="{B825B95D-54C2-4B80-808B-EC430A6636F0}" dt="2021-09-24T09:37:13.994" v="6583"/>
          <ac:spMkLst>
            <pc:docMk/>
            <pc:sldMk cId="2715760571" sldId="311"/>
            <ac:spMk id="276" creationId="{F0E35A8C-6FA8-4F3C-8269-002FD9ACF97E}"/>
          </ac:spMkLst>
        </pc:spChg>
        <pc:spChg chg="mod ord">
          <ac:chgData name="PROVENCHERE Sandrine" userId="ad1decff-d2ce-4d29-9d90-3591b80bc438" providerId="ADAL" clId="{B825B95D-54C2-4B80-808B-EC430A6636F0}" dt="2021-09-24T09:37:13.994" v="6585"/>
          <ac:spMkLst>
            <pc:docMk/>
            <pc:sldMk cId="2715760571" sldId="311"/>
            <ac:spMk id="277" creationId="{5FC510A5-37A9-4F76-974D-7679B28FABBD}"/>
          </ac:spMkLst>
        </pc:spChg>
        <pc:spChg chg="mod ord">
          <ac:chgData name="PROVENCHERE Sandrine" userId="ad1decff-d2ce-4d29-9d90-3591b80bc438" providerId="ADAL" clId="{B825B95D-54C2-4B80-808B-EC430A6636F0}" dt="2021-09-24T09:37:14.002" v="6587"/>
          <ac:spMkLst>
            <pc:docMk/>
            <pc:sldMk cId="2715760571" sldId="311"/>
            <ac:spMk id="278" creationId="{EC78708A-7225-4B28-BF64-1C278245839A}"/>
          </ac:spMkLst>
        </pc:spChg>
        <pc:spChg chg="add mod ord">
          <ac:chgData name="PROVENCHERE Sandrine" userId="ad1decff-d2ce-4d29-9d90-3591b80bc438" providerId="ADAL" clId="{B825B95D-54C2-4B80-808B-EC430A6636F0}" dt="2021-09-24T09:37:14.014" v="6637"/>
          <ac:spMkLst>
            <pc:docMk/>
            <pc:sldMk cId="2715760571" sldId="311"/>
            <ac:spMk id="280" creationId="{C35AFC77-FE66-442F-89EC-28FA71755578}"/>
          </ac:spMkLst>
        </pc:spChg>
        <pc:spChg chg="add mod ord">
          <ac:chgData name="PROVENCHERE Sandrine" userId="ad1decff-d2ce-4d29-9d90-3591b80bc438" providerId="ADAL" clId="{B825B95D-54C2-4B80-808B-EC430A6636F0}" dt="2021-09-24T09:37:14.014" v="6639"/>
          <ac:spMkLst>
            <pc:docMk/>
            <pc:sldMk cId="2715760571" sldId="311"/>
            <ac:spMk id="281" creationId="{EF8EA109-00D6-48C4-B00A-A14A08926E8D}"/>
          </ac:spMkLst>
        </pc:spChg>
        <pc:spChg chg="add mod ord">
          <ac:chgData name="PROVENCHERE Sandrine" userId="ad1decff-d2ce-4d29-9d90-3591b80bc438" providerId="ADAL" clId="{B825B95D-54C2-4B80-808B-EC430A6636F0}" dt="2021-09-24T09:37:14.014" v="6641"/>
          <ac:spMkLst>
            <pc:docMk/>
            <pc:sldMk cId="2715760571" sldId="311"/>
            <ac:spMk id="282" creationId="{1BA2E13E-34A9-444F-8511-93E90DF08A08}"/>
          </ac:spMkLst>
        </pc:spChg>
        <pc:spChg chg="del mod ord">
          <ac:chgData name="PROVENCHERE Sandrine" userId="ad1decff-d2ce-4d29-9d90-3591b80bc438" providerId="ADAL" clId="{B825B95D-54C2-4B80-808B-EC430A6636F0}" dt="2021-09-21T13:04:05.582" v="2509" actId="478"/>
          <ac:spMkLst>
            <pc:docMk/>
            <pc:sldMk cId="2715760571" sldId="311"/>
            <ac:spMk id="283" creationId="{781D2122-F5A0-46C7-A85E-C86F40A5ABDC}"/>
          </ac:spMkLst>
        </pc:spChg>
        <pc:spChg chg="del mod ord">
          <ac:chgData name="PROVENCHERE Sandrine" userId="ad1decff-d2ce-4d29-9d90-3591b80bc438" providerId="ADAL" clId="{B825B95D-54C2-4B80-808B-EC430A6636F0}" dt="2021-09-21T13:04:07.642" v="2510" actId="478"/>
          <ac:spMkLst>
            <pc:docMk/>
            <pc:sldMk cId="2715760571" sldId="311"/>
            <ac:spMk id="284" creationId="{86D0D7AF-8E07-469B-BDA9-2FC6C1F08AC2}"/>
          </ac:spMkLst>
        </pc:spChg>
        <pc:spChg chg="del mod ord">
          <ac:chgData name="PROVENCHERE Sandrine" userId="ad1decff-d2ce-4d29-9d90-3591b80bc438" providerId="ADAL" clId="{B825B95D-54C2-4B80-808B-EC430A6636F0}" dt="2021-09-21T13:04:09.284" v="2511" actId="478"/>
          <ac:spMkLst>
            <pc:docMk/>
            <pc:sldMk cId="2715760571" sldId="311"/>
            <ac:spMk id="285" creationId="{D2F9B877-CBEC-4AB7-BCA5-B5BB83E99E7D}"/>
          </ac:spMkLst>
        </pc:spChg>
        <pc:spChg chg="mod ord">
          <ac:chgData name="PROVENCHERE Sandrine" userId="ad1decff-d2ce-4d29-9d90-3591b80bc438" providerId="ADAL" clId="{B825B95D-54C2-4B80-808B-EC430A6636F0}" dt="2021-09-24T09:37:13.954" v="6471"/>
          <ac:spMkLst>
            <pc:docMk/>
            <pc:sldMk cId="2715760571" sldId="311"/>
            <ac:spMk id="301" creationId="{0E222F4E-57D0-4A60-83DA-DF2D46BDC957}"/>
          </ac:spMkLst>
        </pc:spChg>
        <pc:spChg chg="mod">
          <ac:chgData name="PROVENCHERE Sandrine" userId="ad1decff-d2ce-4d29-9d90-3591b80bc438" providerId="ADAL" clId="{B825B95D-54C2-4B80-808B-EC430A6636F0}" dt="2021-09-24T09:37:13.952" v="6464"/>
          <ac:spMkLst>
            <pc:docMk/>
            <pc:sldMk cId="2715760571" sldId="311"/>
            <ac:spMk id="302" creationId="{792B99E9-7506-47FC-9BA8-9F1C2F6839B9}"/>
          </ac:spMkLst>
        </pc:spChg>
        <pc:spChg chg="mod ord">
          <ac:chgData name="PROVENCHERE Sandrine" userId="ad1decff-d2ce-4d29-9d90-3591b80bc438" providerId="ADAL" clId="{B825B95D-54C2-4B80-808B-EC430A6636F0}" dt="2021-09-24T09:37:13.952" v="6466"/>
          <ac:spMkLst>
            <pc:docMk/>
            <pc:sldMk cId="2715760571" sldId="311"/>
            <ac:spMk id="303" creationId="{E8D5E44D-9F6F-4591-A128-D45FEBB91CCE}"/>
          </ac:spMkLst>
        </pc:spChg>
        <pc:spChg chg="mod ord">
          <ac:chgData name="PROVENCHERE Sandrine" userId="ad1decff-d2ce-4d29-9d90-3591b80bc438" providerId="ADAL" clId="{B825B95D-54C2-4B80-808B-EC430A6636F0}" dt="2021-09-24T09:37:13.954" v="6469"/>
          <ac:spMkLst>
            <pc:docMk/>
            <pc:sldMk cId="2715760571" sldId="311"/>
            <ac:spMk id="304" creationId="{4A8310BC-D557-409B-902F-54798E9EA84E}"/>
          </ac:spMkLst>
        </pc:spChg>
        <pc:spChg chg="mod">
          <ac:chgData name="PROVENCHERE Sandrine" userId="ad1decff-d2ce-4d29-9d90-3591b80bc438" providerId="ADAL" clId="{B825B95D-54C2-4B80-808B-EC430A6636F0}" dt="2021-09-24T09:37:13.944" v="6448"/>
          <ac:spMkLst>
            <pc:docMk/>
            <pc:sldMk cId="2715760571" sldId="311"/>
            <ac:spMk id="318" creationId="{3FD2B578-1CA5-4839-9017-7E3EC6256711}"/>
          </ac:spMkLst>
        </pc:spChg>
        <pc:spChg chg="mod">
          <ac:chgData name="PROVENCHERE Sandrine" userId="ad1decff-d2ce-4d29-9d90-3591b80bc438" providerId="ADAL" clId="{B825B95D-54C2-4B80-808B-EC430A6636F0}" dt="2021-09-24T09:37:13.944" v="6447"/>
          <ac:spMkLst>
            <pc:docMk/>
            <pc:sldMk cId="2715760571" sldId="311"/>
            <ac:spMk id="321" creationId="{24A04A89-1568-403D-97E2-65DAF015C362}"/>
          </ac:spMkLst>
        </pc:spChg>
        <pc:spChg chg="mod">
          <ac:chgData name="PROVENCHERE Sandrine" userId="ad1decff-d2ce-4d29-9d90-3591b80bc438" providerId="ADAL" clId="{B825B95D-54C2-4B80-808B-EC430A6636F0}" dt="2021-09-24T09:37:13.944" v="6445"/>
          <ac:spMkLst>
            <pc:docMk/>
            <pc:sldMk cId="2715760571" sldId="311"/>
            <ac:spMk id="323" creationId="{5FAD09DC-1BCC-466C-A83F-7F46577C368B}"/>
          </ac:spMkLst>
        </pc:spChg>
        <pc:spChg chg="mod">
          <ac:chgData name="PROVENCHERE Sandrine" userId="ad1decff-d2ce-4d29-9d90-3591b80bc438" providerId="ADAL" clId="{B825B95D-54C2-4B80-808B-EC430A6636F0}" dt="2021-09-24T09:37:13.944" v="6449"/>
          <ac:spMkLst>
            <pc:docMk/>
            <pc:sldMk cId="2715760571" sldId="311"/>
            <ac:spMk id="325" creationId="{9AC11AB8-6836-4499-9807-52E88DB1F8D9}"/>
          </ac:spMkLst>
        </pc:spChg>
        <pc:spChg chg="mod">
          <ac:chgData name="PROVENCHERE Sandrine" userId="ad1decff-d2ce-4d29-9d90-3591b80bc438" providerId="ADAL" clId="{B825B95D-54C2-4B80-808B-EC430A6636F0}" dt="2021-09-24T09:37:13.954" v="6467"/>
          <ac:spMkLst>
            <pc:docMk/>
            <pc:sldMk cId="2715760571" sldId="311"/>
            <ac:spMk id="337" creationId="{E17B4A14-0DC6-4748-9AB0-76BA63D43833}"/>
          </ac:spMkLst>
        </pc:spChg>
        <pc:spChg chg="mod">
          <ac:chgData name="PROVENCHERE Sandrine" userId="ad1decff-d2ce-4d29-9d90-3591b80bc438" providerId="ADAL" clId="{B825B95D-54C2-4B80-808B-EC430A6636F0}" dt="2021-09-24T09:37:13.954" v="6473"/>
          <ac:spMkLst>
            <pc:docMk/>
            <pc:sldMk cId="2715760571" sldId="311"/>
            <ac:spMk id="350" creationId="{7C573944-9D35-4E24-908D-AB871EB87F6B}"/>
          </ac:spMkLst>
        </pc:spChg>
        <pc:spChg chg="mod">
          <ac:chgData name="PROVENCHERE Sandrine" userId="ad1decff-d2ce-4d29-9d90-3591b80bc438" providerId="ADAL" clId="{B825B95D-54C2-4B80-808B-EC430A6636F0}" dt="2021-09-24T09:37:13.954" v="6474"/>
          <ac:spMkLst>
            <pc:docMk/>
            <pc:sldMk cId="2715760571" sldId="311"/>
            <ac:spMk id="352" creationId="{3457CB0F-B3D8-40D5-91D2-4F9AE7D78E86}"/>
          </ac:spMkLst>
        </pc:spChg>
        <pc:spChg chg="mod ord">
          <ac:chgData name="PROVENCHERE Sandrine" userId="ad1decff-d2ce-4d29-9d90-3591b80bc438" providerId="ADAL" clId="{B825B95D-54C2-4B80-808B-EC430A6636F0}" dt="2021-09-24T09:37:14.004" v="6595"/>
          <ac:spMkLst>
            <pc:docMk/>
            <pc:sldMk cId="2715760571" sldId="311"/>
            <ac:spMk id="355" creationId="{C1E61069-C8CA-4019-A975-62D182A8B9CC}"/>
          </ac:spMkLst>
        </pc:spChg>
        <pc:spChg chg="mod">
          <ac:chgData name="PROVENCHERE Sandrine" userId="ad1decff-d2ce-4d29-9d90-3591b80bc438" providerId="ADAL" clId="{B825B95D-54C2-4B80-808B-EC430A6636F0}" dt="2021-09-24T09:37:13.954" v="6472"/>
          <ac:spMkLst>
            <pc:docMk/>
            <pc:sldMk cId="2715760571" sldId="311"/>
            <ac:spMk id="356" creationId="{D8C455AB-39E6-4CB4-BA75-E5C956AA5BD6}"/>
          </ac:spMkLst>
        </pc:spChg>
        <pc:spChg chg="mod ord">
          <ac:chgData name="PROVENCHERE Sandrine" userId="ad1decff-d2ce-4d29-9d90-3591b80bc438" providerId="ADAL" clId="{B825B95D-54C2-4B80-808B-EC430A6636F0}" dt="2021-09-24T09:37:14.004" v="6597"/>
          <ac:spMkLst>
            <pc:docMk/>
            <pc:sldMk cId="2715760571" sldId="311"/>
            <ac:spMk id="357" creationId="{4250E03D-4363-4E0A-85E5-48B3FEE56E02}"/>
          </ac:spMkLst>
        </pc:spChg>
        <pc:spChg chg="mod ord">
          <ac:chgData name="PROVENCHERE Sandrine" userId="ad1decff-d2ce-4d29-9d90-3591b80bc438" providerId="ADAL" clId="{B825B95D-54C2-4B80-808B-EC430A6636F0}" dt="2021-09-24T09:37:14.004" v="6599"/>
          <ac:spMkLst>
            <pc:docMk/>
            <pc:sldMk cId="2715760571" sldId="311"/>
            <ac:spMk id="358" creationId="{9C34914F-1284-4D25-9932-A77D91B995E9}"/>
          </ac:spMkLst>
        </pc:spChg>
        <pc:spChg chg="mod ord">
          <ac:chgData name="PROVENCHERE Sandrine" userId="ad1decff-d2ce-4d29-9d90-3591b80bc438" providerId="ADAL" clId="{B825B95D-54C2-4B80-808B-EC430A6636F0}" dt="2021-09-24T09:37:14.004" v="6601"/>
          <ac:spMkLst>
            <pc:docMk/>
            <pc:sldMk cId="2715760571" sldId="311"/>
            <ac:spMk id="359" creationId="{B17A55F9-3C90-4D02-B1A7-69898512B1A2}"/>
          </ac:spMkLst>
        </pc:spChg>
        <pc:spChg chg="mod ord">
          <ac:chgData name="PROVENCHERE Sandrine" userId="ad1decff-d2ce-4d29-9d90-3591b80bc438" providerId="ADAL" clId="{B825B95D-54C2-4B80-808B-EC430A6636F0}" dt="2021-09-24T09:37:57.725" v="6659" actId="20577"/>
          <ac:spMkLst>
            <pc:docMk/>
            <pc:sldMk cId="2715760571" sldId="311"/>
            <ac:spMk id="360" creationId="{19196A2D-C978-4BD8-9E36-35CF1698960A}"/>
          </ac:spMkLst>
        </pc:spChg>
        <pc:spChg chg="mod ord">
          <ac:chgData name="PROVENCHERE Sandrine" userId="ad1decff-d2ce-4d29-9d90-3591b80bc438" providerId="ADAL" clId="{B825B95D-54C2-4B80-808B-EC430A6636F0}" dt="2021-09-24T09:37:14.004" v="6605"/>
          <ac:spMkLst>
            <pc:docMk/>
            <pc:sldMk cId="2715760571" sldId="311"/>
            <ac:spMk id="361" creationId="{F5E423ED-6FCC-414B-84A6-82A4C6F9788A}"/>
          </ac:spMkLst>
        </pc:spChg>
        <pc:spChg chg="mod ord">
          <ac:chgData name="PROVENCHERE Sandrine" userId="ad1decff-d2ce-4d29-9d90-3591b80bc438" providerId="ADAL" clId="{B825B95D-54C2-4B80-808B-EC430A6636F0}" dt="2021-09-24T09:37:14.004" v="6607"/>
          <ac:spMkLst>
            <pc:docMk/>
            <pc:sldMk cId="2715760571" sldId="311"/>
            <ac:spMk id="362" creationId="{A6114E1E-91F5-478D-949C-061199671015}"/>
          </ac:spMkLst>
        </pc:spChg>
        <pc:spChg chg="mod ord">
          <ac:chgData name="PROVENCHERE Sandrine" userId="ad1decff-d2ce-4d29-9d90-3591b80bc438" providerId="ADAL" clId="{B825B95D-54C2-4B80-808B-EC430A6636F0}" dt="2021-09-24T09:37:14.004" v="6609"/>
          <ac:spMkLst>
            <pc:docMk/>
            <pc:sldMk cId="2715760571" sldId="311"/>
            <ac:spMk id="363" creationId="{1EE6DD91-8F5D-4718-8FF9-03E431B13210}"/>
          </ac:spMkLst>
        </pc:spChg>
        <pc:spChg chg="mod ord">
          <ac:chgData name="PROVENCHERE Sandrine" userId="ad1decff-d2ce-4d29-9d90-3591b80bc438" providerId="ADAL" clId="{B825B95D-54C2-4B80-808B-EC430A6636F0}" dt="2021-09-24T09:37:14.004" v="6611"/>
          <ac:spMkLst>
            <pc:docMk/>
            <pc:sldMk cId="2715760571" sldId="311"/>
            <ac:spMk id="364" creationId="{A74B8A5E-C0E5-4919-BF72-E9ADB9693DF2}"/>
          </ac:spMkLst>
        </pc:spChg>
        <pc:spChg chg="mod ord">
          <ac:chgData name="PROVENCHERE Sandrine" userId="ad1decff-d2ce-4d29-9d90-3591b80bc438" providerId="ADAL" clId="{B825B95D-54C2-4B80-808B-EC430A6636F0}" dt="2021-09-24T09:38:07.933" v="6661" actId="20577"/>
          <ac:spMkLst>
            <pc:docMk/>
            <pc:sldMk cId="2715760571" sldId="311"/>
            <ac:spMk id="365" creationId="{7950B871-6B59-452A-B8F1-129A33AC9478}"/>
          </ac:spMkLst>
        </pc:spChg>
        <pc:spChg chg="mod ord">
          <ac:chgData name="PROVENCHERE Sandrine" userId="ad1decff-d2ce-4d29-9d90-3591b80bc438" providerId="ADAL" clId="{B825B95D-54C2-4B80-808B-EC430A6636F0}" dt="2021-09-24T09:37:14.004" v="6615"/>
          <ac:spMkLst>
            <pc:docMk/>
            <pc:sldMk cId="2715760571" sldId="311"/>
            <ac:spMk id="366" creationId="{886E17A4-5421-4A86-A1AE-1A457E232E50}"/>
          </ac:spMkLst>
        </pc:spChg>
        <pc:spChg chg="mod">
          <ac:chgData name="PROVENCHERE Sandrine" userId="ad1decff-d2ce-4d29-9d90-3591b80bc438" providerId="ADAL" clId="{B825B95D-54C2-4B80-808B-EC430A6636F0}" dt="2021-09-24T09:37:13.954" v="6475"/>
          <ac:spMkLst>
            <pc:docMk/>
            <pc:sldMk cId="2715760571" sldId="311"/>
            <ac:spMk id="412" creationId="{F0D1334D-247F-479D-841F-3855BCAF0A42}"/>
          </ac:spMkLst>
        </pc:spChg>
        <pc:spChg chg="mod ord">
          <ac:chgData name="PROVENCHERE Sandrine" userId="ad1decff-d2ce-4d29-9d90-3591b80bc438" providerId="ADAL" clId="{B825B95D-54C2-4B80-808B-EC430A6636F0}" dt="2021-09-24T09:49:58.314" v="6951" actId="948"/>
          <ac:spMkLst>
            <pc:docMk/>
            <pc:sldMk cId="2715760571" sldId="311"/>
            <ac:spMk id="587" creationId="{7FC2D976-FF61-496E-BC30-76433C060A8D}"/>
          </ac:spMkLst>
        </pc:spChg>
        <pc:grpChg chg="mod ord">
          <ac:chgData name="PROVENCHERE Sandrine" userId="ad1decff-d2ce-4d29-9d90-3591b80bc438" providerId="ADAL" clId="{B825B95D-54C2-4B80-808B-EC430A6636F0}" dt="2021-09-24T09:37:14.004" v="6621"/>
          <ac:grpSpMkLst>
            <pc:docMk/>
            <pc:sldMk cId="2715760571" sldId="311"/>
            <ac:grpSpMk id="23" creationId="{0D795AFA-2D29-4CAE-B26D-3434FEF16F46}"/>
          </ac:grpSpMkLst>
        </pc:grpChg>
        <pc:grpChg chg="mod ord">
          <ac:chgData name="PROVENCHERE Sandrine" userId="ad1decff-d2ce-4d29-9d90-3591b80bc438" providerId="ADAL" clId="{B825B95D-54C2-4B80-808B-EC430A6636F0}" dt="2021-09-24T09:37:13.992" v="6557"/>
          <ac:grpSpMkLst>
            <pc:docMk/>
            <pc:sldMk cId="2715760571" sldId="311"/>
            <ac:grpSpMk id="224" creationId="{E0E45818-B40E-4631-B714-2C9F181FC426}"/>
          </ac:grpSpMkLst>
        </pc:grpChg>
        <pc:grpChg chg="add mod ord">
          <ac:chgData name="PROVENCHERE Sandrine" userId="ad1decff-d2ce-4d29-9d90-3591b80bc438" providerId="ADAL" clId="{B825B95D-54C2-4B80-808B-EC430A6636F0}" dt="2021-09-24T09:37:14.012" v="6623"/>
          <ac:grpSpMkLst>
            <pc:docMk/>
            <pc:sldMk cId="2715760571" sldId="311"/>
            <ac:grpSpMk id="229" creationId="{4678577A-595B-4BD2-BFDA-E3C55655BA28}"/>
          </ac:grpSpMkLst>
        </pc:grpChg>
        <pc:grpChg chg="del mod ord">
          <ac:chgData name="PROVENCHERE Sandrine" userId="ad1decff-d2ce-4d29-9d90-3591b80bc438" providerId="ADAL" clId="{B825B95D-54C2-4B80-808B-EC430A6636F0}" dt="2021-09-21T13:03:35.182" v="2504" actId="478"/>
          <ac:grpSpMkLst>
            <pc:docMk/>
            <pc:sldMk cId="2715760571" sldId="311"/>
            <ac:grpSpMk id="252" creationId="{21B08F29-E7F2-4F06-971C-55199854321C}"/>
          </ac:grpSpMkLst>
        </pc:grpChg>
        <pc:grpChg chg="add mod ord">
          <ac:chgData name="PROVENCHERE Sandrine" userId="ad1decff-d2ce-4d29-9d90-3591b80bc438" providerId="ADAL" clId="{B825B95D-54C2-4B80-808B-EC430A6636F0}" dt="2021-09-24T09:37:14.012" v="6625"/>
          <ac:grpSpMkLst>
            <pc:docMk/>
            <pc:sldMk cId="2715760571" sldId="311"/>
            <ac:grpSpMk id="254" creationId="{36153FEC-DBF3-4B87-8626-601C30E4AAF3}"/>
          </ac:grpSpMkLst>
        </pc:grpChg>
        <pc:grpChg chg="del mod ord">
          <ac:chgData name="PROVENCHERE Sandrine" userId="ad1decff-d2ce-4d29-9d90-3591b80bc438" providerId="ADAL" clId="{B825B95D-54C2-4B80-808B-EC430A6636F0}" dt="2021-09-21T13:03:38.196" v="2505" actId="478"/>
          <ac:grpSpMkLst>
            <pc:docMk/>
            <pc:sldMk cId="2715760571" sldId="311"/>
            <ac:grpSpMk id="270" creationId="{DCA53529-9AF7-47DB-9C7D-F5F59C2C3026}"/>
          </ac:grpSpMkLst>
        </pc:grpChg>
        <pc:graphicFrameChg chg="mod">
          <ac:chgData name="PROVENCHERE Sandrine" userId="ad1decff-d2ce-4d29-9d90-3591b80bc438" providerId="ADAL" clId="{B825B95D-54C2-4B80-808B-EC430A6636F0}" dt="2021-09-24T09:49:58.362" v="6953"/>
          <ac:graphicFrameMkLst>
            <pc:docMk/>
            <pc:sldMk cId="2715760571" sldId="311"/>
            <ac:graphicFrameMk id="6" creationId="{57E14FF0-0B68-4969-BEF0-799A891BCBC3}"/>
          </ac:graphicFrameMkLst>
        </pc:graphicFrameChg>
        <pc:graphicFrameChg chg="del mod ord">
          <ac:chgData name="PROVENCHERE Sandrine" userId="ad1decff-d2ce-4d29-9d90-3591b80bc438" providerId="ADAL" clId="{B825B95D-54C2-4B80-808B-EC430A6636F0}" dt="2021-09-21T13:04:46.210" v="2512" actId="478"/>
          <ac:graphicFrameMkLst>
            <pc:docMk/>
            <pc:sldMk cId="2715760571" sldId="311"/>
            <ac:graphicFrameMk id="20" creationId="{93A48EBA-2AD7-476B-9F3C-BD0243C4D4A9}"/>
          </ac:graphicFrameMkLst>
        </pc:graphicFrameChg>
        <pc:graphicFrameChg chg="add mod">
          <ac:chgData name="PROVENCHERE Sandrine" userId="ad1decff-d2ce-4d29-9d90-3591b80bc438" providerId="ADAL" clId="{B825B95D-54C2-4B80-808B-EC430A6636F0}" dt="2021-09-24T09:37:13.952" v="6463"/>
          <ac:graphicFrameMkLst>
            <pc:docMk/>
            <pc:sldMk cId="2715760571" sldId="311"/>
            <ac:graphicFrameMk id="176" creationId="{21B041E7-BE8F-40BF-9E82-52B7EF89D578}"/>
          </ac:graphicFrameMkLst>
        </pc:graphicFrameChg>
        <pc:graphicFrameChg chg="del">
          <ac:chgData name="PROVENCHERE Sandrine" userId="ad1decff-d2ce-4d29-9d90-3591b80bc438" providerId="ADAL" clId="{B825B95D-54C2-4B80-808B-EC430A6636F0}" dt="2021-09-21T13:01:17.231" v="1423"/>
          <ac:graphicFrameMkLst>
            <pc:docMk/>
            <pc:sldMk cId="2715760571" sldId="311"/>
            <ac:graphicFrameMk id="203" creationId="{B8583AA0-FBEF-4155-A671-1BE5BDBCE0C5}"/>
          </ac:graphicFrameMkLst>
        </pc:graphicFrameChg>
        <pc:graphicFrameChg chg="add mod">
          <ac:chgData name="PROVENCHERE Sandrine" userId="ad1decff-d2ce-4d29-9d90-3591b80bc438" providerId="ADAL" clId="{B825B95D-54C2-4B80-808B-EC430A6636F0}" dt="2021-09-24T09:37:13.954" v="6480"/>
          <ac:graphicFrameMkLst>
            <pc:docMk/>
            <pc:sldMk cId="2715760571" sldId="311"/>
            <ac:graphicFrameMk id="204" creationId="{DD59D782-051B-438E-894A-703B47308381}"/>
          </ac:graphicFrameMkLst>
        </pc:graphicFrameChg>
        <pc:graphicFrameChg chg="del mod ord">
          <ac:chgData name="PROVENCHERE Sandrine" userId="ad1decff-d2ce-4d29-9d90-3591b80bc438" providerId="ADAL" clId="{B825B95D-54C2-4B80-808B-EC430A6636F0}" dt="2021-09-21T13:04:46.210" v="2512" actId="478"/>
          <ac:graphicFrameMkLst>
            <pc:docMk/>
            <pc:sldMk cId="2715760571" sldId="311"/>
            <ac:graphicFrameMk id="214" creationId="{6A0534B6-8444-4A56-BB53-5AEEDA1F0D0E}"/>
          </ac:graphicFrameMkLst>
        </pc:graphicFrameChg>
        <pc:graphicFrameChg chg="add mod">
          <ac:chgData name="PROVENCHERE Sandrine" userId="ad1decff-d2ce-4d29-9d90-3591b80bc438" providerId="ADAL" clId="{B825B95D-54C2-4B80-808B-EC430A6636F0}" dt="2021-09-24T09:37:13.974" v="6520"/>
          <ac:graphicFrameMkLst>
            <pc:docMk/>
            <pc:sldMk cId="2715760571" sldId="311"/>
            <ac:graphicFrameMk id="228" creationId="{07D45906-7679-4FD6-9CC1-7565BEE8B18D}"/>
          </ac:graphicFrameMkLst>
        </pc:graphicFrameChg>
        <pc:graphicFrameChg chg="del mod">
          <ac:chgData name="PROVENCHERE Sandrine" userId="ad1decff-d2ce-4d29-9d90-3591b80bc438" providerId="ADAL" clId="{B825B95D-54C2-4B80-808B-EC430A6636F0}" dt="2021-09-21T13:01:22.945" v="2111"/>
          <ac:graphicFrameMkLst>
            <pc:docMk/>
            <pc:sldMk cId="2715760571" sldId="311"/>
            <ac:graphicFrameMk id="251" creationId="{01B71D32-F5DE-46CE-898F-6348CEB8F15C}"/>
          </ac:graphicFrameMkLst>
        </pc:graphicFrameChg>
        <pc:graphicFrameChg chg="del mod">
          <ac:chgData name="PROVENCHERE Sandrine" userId="ad1decff-d2ce-4d29-9d90-3591b80bc438" providerId="ADAL" clId="{B825B95D-54C2-4B80-808B-EC430A6636F0}" dt="2021-09-21T13:10:08.300" v="2711" actId="478"/>
          <ac:graphicFrameMkLst>
            <pc:docMk/>
            <pc:sldMk cId="2715760571" sldId="311"/>
            <ac:graphicFrameMk id="287" creationId="{4A9F05B8-4C61-41AD-B6FE-012BC0EA6717}"/>
          </ac:graphicFrameMkLst>
        </pc:graphicFrameChg>
        <pc:graphicFrameChg chg="add del mod">
          <ac:chgData name="PROVENCHERE Sandrine" userId="ad1decff-d2ce-4d29-9d90-3591b80bc438" providerId="ADAL" clId="{B825B95D-54C2-4B80-808B-EC430A6636F0}" dt="2021-09-21T13:15:30.361" v="3183"/>
          <ac:graphicFrameMkLst>
            <pc:docMk/>
            <pc:sldMk cId="2715760571" sldId="311"/>
            <ac:graphicFrameMk id="290" creationId="{2EFAD91C-BAC7-4F15-859B-7DC7BBC5D264}"/>
          </ac:graphicFrameMkLst>
        </pc:graphicFrameChg>
        <pc:graphicFrameChg chg="del mod">
          <ac:chgData name="PROVENCHERE Sandrine" userId="ad1decff-d2ce-4d29-9d90-3591b80bc438" providerId="ADAL" clId="{B825B95D-54C2-4B80-808B-EC430A6636F0}" dt="2021-09-21T13:20:41.616" v="4011"/>
          <ac:graphicFrameMkLst>
            <pc:docMk/>
            <pc:sldMk cId="2715760571" sldId="311"/>
            <ac:graphicFrameMk id="296" creationId="{6D07A816-0685-41E1-A879-70CE826A9B07}"/>
          </ac:graphicFrameMkLst>
        </pc:graphicFrameChg>
        <pc:graphicFrameChg chg="del mod">
          <ac:chgData name="PROVENCHERE Sandrine" userId="ad1decff-d2ce-4d29-9d90-3591b80bc438" providerId="ADAL" clId="{B825B95D-54C2-4B80-808B-EC430A6636F0}" dt="2021-09-21T13:20:45.511" v="4457"/>
          <ac:graphicFrameMkLst>
            <pc:docMk/>
            <pc:sldMk cId="2715760571" sldId="311"/>
            <ac:graphicFrameMk id="297" creationId="{38E72604-242D-449E-A0DC-E963DCB096D0}"/>
          </ac:graphicFrameMkLst>
        </pc:graphicFrameChg>
        <pc:graphicFrameChg chg="add mod ord modGraphic">
          <ac:chgData name="PROVENCHERE Sandrine" userId="ad1decff-d2ce-4d29-9d90-3591b80bc438" providerId="ADAL" clId="{B825B95D-54C2-4B80-808B-EC430A6636F0}" dt="2021-09-24T09:37:14.014" v="6643"/>
          <ac:graphicFrameMkLst>
            <pc:docMk/>
            <pc:sldMk cId="2715760571" sldId="311"/>
            <ac:graphicFrameMk id="298" creationId="{D64DE84F-2B82-44CB-9B61-C15425C39929}"/>
          </ac:graphicFrameMkLst>
        </pc:graphicFrameChg>
        <pc:graphicFrameChg chg="add mod ord modGraphic">
          <ac:chgData name="PROVENCHERE Sandrine" userId="ad1decff-d2ce-4d29-9d90-3591b80bc438" providerId="ADAL" clId="{B825B95D-54C2-4B80-808B-EC430A6636F0}" dt="2021-09-24T09:37:14.014" v="6645"/>
          <ac:graphicFrameMkLst>
            <pc:docMk/>
            <pc:sldMk cId="2715760571" sldId="311"/>
            <ac:graphicFrameMk id="299" creationId="{E6D899DD-271A-4BA2-B71A-FFD985AC4795}"/>
          </ac:graphicFrameMkLst>
        </pc:graphicFrameChg>
        <pc:graphicFrameChg chg="add mod">
          <ac:chgData name="PROVENCHERE Sandrine" userId="ad1decff-d2ce-4d29-9d90-3591b80bc438" providerId="ADAL" clId="{B825B95D-54C2-4B80-808B-EC430A6636F0}" dt="2021-09-24T09:37:14.014" v="6648"/>
          <ac:graphicFrameMkLst>
            <pc:docMk/>
            <pc:sldMk cId="2715760571" sldId="311"/>
            <ac:graphicFrameMk id="305" creationId="{4A9F05B8-4C61-41AD-B6FE-012BC0EA6717}"/>
          </ac:graphicFrameMkLst>
        </pc:graphicFrameChg>
        <pc:graphicFrameChg chg="add mod">
          <ac:chgData name="PROVENCHERE Sandrine" userId="ad1decff-d2ce-4d29-9d90-3591b80bc438" providerId="ADAL" clId="{B825B95D-54C2-4B80-808B-EC430A6636F0}" dt="2021-09-24T09:37:14.014" v="6651"/>
          <ac:graphicFrameMkLst>
            <pc:docMk/>
            <pc:sldMk cId="2715760571" sldId="311"/>
            <ac:graphicFrameMk id="306" creationId="{2EFAD91C-BAC7-4F15-859B-7DC7BBC5D264}"/>
          </ac:graphicFrameMkLst>
        </pc:graphicFrameChg>
        <pc:graphicFrameChg chg="add mod">
          <ac:chgData name="PROVENCHERE Sandrine" userId="ad1decff-d2ce-4d29-9d90-3591b80bc438" providerId="ADAL" clId="{B825B95D-54C2-4B80-808B-EC430A6636F0}" dt="2021-09-24T09:37:13.944" v="6442"/>
          <ac:graphicFrameMkLst>
            <pc:docMk/>
            <pc:sldMk cId="2715760571" sldId="311"/>
            <ac:graphicFrameMk id="307" creationId="{FF304146-B410-4690-82CE-B49E1CA7529E}"/>
          </ac:graphicFrameMkLst>
        </pc:graphicFrameChg>
        <pc:graphicFrameChg chg="add del mod">
          <ac:chgData name="PROVENCHERE Sandrine" userId="ad1decff-d2ce-4d29-9d90-3591b80bc438" providerId="ADAL" clId="{B825B95D-54C2-4B80-808B-EC430A6636F0}" dt="2021-09-24T09:37:13.850" v="6393"/>
          <ac:graphicFrameMkLst>
            <pc:docMk/>
            <pc:sldMk cId="2715760571" sldId="311"/>
            <ac:graphicFrameMk id="308" creationId="{49C96463-F6F6-4E56-AB46-78075B2FD245}"/>
          </ac:graphicFrameMkLst>
        </pc:graphicFrameChg>
        <pc:picChg chg="mod ord">
          <ac:chgData name="PROVENCHERE Sandrine" userId="ad1decff-d2ce-4d29-9d90-3591b80bc438" providerId="ADAL" clId="{B825B95D-54C2-4B80-808B-EC430A6636F0}" dt="2021-09-24T09:37:13.927" v="6428"/>
          <ac:picMkLst>
            <pc:docMk/>
            <pc:sldMk cId="2715760571" sldId="311"/>
            <ac:picMk id="163" creationId="{3BC3DAD2-8ED9-424E-A55E-E1890FE3F429}"/>
          </ac:picMkLst>
        </pc:picChg>
        <pc:picChg chg="del mod ord">
          <ac:chgData name="PROVENCHERE Sandrine" userId="ad1decff-d2ce-4d29-9d90-3591b80bc438" providerId="ADAL" clId="{B825B95D-54C2-4B80-808B-EC430A6636F0}" dt="2021-09-21T13:04:46.210" v="2512" actId="478"/>
          <ac:picMkLst>
            <pc:docMk/>
            <pc:sldMk cId="2715760571" sldId="311"/>
            <ac:picMk id="185" creationId="{44FC5ABB-B2FD-4502-8A15-9D17F9996D14}"/>
          </ac:picMkLst>
        </pc:picChg>
        <pc:picChg chg="mod ord">
          <ac:chgData name="PROVENCHERE Sandrine" userId="ad1decff-d2ce-4d29-9d90-3591b80bc438" providerId="ADAL" clId="{B825B95D-54C2-4B80-808B-EC430A6636F0}" dt="2021-09-24T09:37:13.994" v="6559"/>
          <ac:picMkLst>
            <pc:docMk/>
            <pc:sldMk cId="2715760571" sldId="311"/>
            <ac:picMk id="226" creationId="{E5904904-D88F-4CF1-9C77-B7E09E7CCC4B}"/>
          </ac:picMkLst>
        </pc:picChg>
        <pc:picChg chg="mod ord">
          <ac:chgData name="PROVENCHERE Sandrine" userId="ad1decff-d2ce-4d29-9d90-3591b80bc438" providerId="ADAL" clId="{B825B95D-54C2-4B80-808B-EC430A6636F0}" dt="2021-09-24T09:37:13.994" v="6561"/>
          <ac:picMkLst>
            <pc:docMk/>
            <pc:sldMk cId="2715760571" sldId="311"/>
            <ac:picMk id="235" creationId="{220EB096-C32C-4AF7-B8C4-9BEADBE025D0}"/>
          </ac:picMkLst>
        </pc:picChg>
        <pc:picChg chg="mod ord">
          <ac:chgData name="PROVENCHERE Sandrine" userId="ad1decff-d2ce-4d29-9d90-3591b80bc438" providerId="ADAL" clId="{B825B95D-54C2-4B80-808B-EC430A6636F0}" dt="2021-09-24T09:37:13.994" v="6573"/>
          <ac:picMkLst>
            <pc:docMk/>
            <pc:sldMk cId="2715760571" sldId="311"/>
            <ac:picMk id="265" creationId="{5B0D0375-7556-4333-AD89-10E3CDB44481}"/>
          </ac:picMkLst>
        </pc:picChg>
        <pc:picChg chg="mod ord">
          <ac:chgData name="PROVENCHERE Sandrine" userId="ad1decff-d2ce-4d29-9d90-3591b80bc438" providerId="ADAL" clId="{B825B95D-54C2-4B80-808B-EC430A6636F0}" dt="2021-09-24T09:37:13.994" v="6575"/>
          <ac:picMkLst>
            <pc:docMk/>
            <pc:sldMk cId="2715760571" sldId="311"/>
            <ac:picMk id="266" creationId="{D9C302AC-93BF-45BC-ABEA-BA155C880603}"/>
          </ac:picMkLst>
        </pc:picChg>
        <pc:picChg chg="add mod ord">
          <ac:chgData name="PROVENCHERE Sandrine" userId="ad1decff-d2ce-4d29-9d90-3591b80bc438" providerId="ADAL" clId="{B825B95D-54C2-4B80-808B-EC430A6636F0}" dt="2021-09-24T09:37:14.014" v="6631"/>
          <ac:picMkLst>
            <pc:docMk/>
            <pc:sldMk cId="2715760571" sldId="311"/>
            <ac:picMk id="273" creationId="{3183903A-232E-4403-9435-C409F6B2FB05}"/>
          </ac:picMkLst>
        </pc:picChg>
        <pc:picChg chg="add mod ord">
          <ac:chgData name="PROVENCHERE Sandrine" userId="ad1decff-d2ce-4d29-9d90-3591b80bc438" providerId="ADAL" clId="{B825B95D-54C2-4B80-808B-EC430A6636F0}" dt="2021-09-24T09:37:14.014" v="6633"/>
          <ac:picMkLst>
            <pc:docMk/>
            <pc:sldMk cId="2715760571" sldId="311"/>
            <ac:picMk id="274" creationId="{F522400D-D672-4F8A-B425-4DD291EE6AD4}"/>
          </ac:picMkLst>
        </pc:picChg>
        <pc:picChg chg="mod ord">
          <ac:chgData name="PROVENCHERE Sandrine" userId="ad1decff-d2ce-4d29-9d90-3591b80bc438" providerId="ADAL" clId="{B825B95D-54C2-4B80-808B-EC430A6636F0}" dt="2021-09-24T09:37:13.927" v="6416"/>
          <ac:picMkLst>
            <pc:docMk/>
            <pc:sldMk cId="2715760571" sldId="311"/>
            <ac:picMk id="288" creationId="{E97DC373-C2F1-4407-B1E9-062788795879}"/>
          </ac:picMkLst>
        </pc:picChg>
        <pc:picChg chg="mod ord">
          <ac:chgData name="PROVENCHERE Sandrine" userId="ad1decff-d2ce-4d29-9d90-3591b80bc438" providerId="ADAL" clId="{B825B95D-54C2-4B80-808B-EC430A6636F0}" dt="2021-09-24T09:37:13.927" v="6418"/>
          <ac:picMkLst>
            <pc:docMk/>
            <pc:sldMk cId="2715760571" sldId="311"/>
            <ac:picMk id="289" creationId="{D3A2FE86-7E4C-444A-AF3A-E5EE7E89CA36}"/>
          </ac:picMkLst>
        </pc:picChg>
        <pc:picChg chg="del mod ord">
          <ac:chgData name="PROVENCHERE Sandrine" userId="ad1decff-d2ce-4d29-9d90-3591b80bc438" providerId="ADAL" clId="{B825B95D-54C2-4B80-808B-EC430A6636F0}" dt="2021-09-21T13:04:46.210" v="2512" actId="478"/>
          <ac:picMkLst>
            <pc:docMk/>
            <pc:sldMk cId="2715760571" sldId="311"/>
            <ac:picMk id="291" creationId="{699BAE0F-CA3E-4DF5-8A7D-6CBCD17C9DE9}"/>
          </ac:picMkLst>
        </pc:picChg>
        <pc:picChg chg="mod ord">
          <ac:chgData name="PROVENCHERE Sandrine" userId="ad1decff-d2ce-4d29-9d90-3591b80bc438" providerId="ADAL" clId="{B825B95D-54C2-4B80-808B-EC430A6636F0}" dt="2021-09-24T09:37:14.003" v="6589"/>
          <ac:picMkLst>
            <pc:docMk/>
            <pc:sldMk cId="2715760571" sldId="311"/>
            <ac:picMk id="330" creationId="{7291A2C6-1F44-433E-8D67-8E5FDED700D8}"/>
          </ac:picMkLst>
        </pc:picChg>
        <pc:picChg chg="mod ord">
          <ac:chgData name="PROVENCHERE Sandrine" userId="ad1decff-d2ce-4d29-9d90-3591b80bc438" providerId="ADAL" clId="{B825B95D-54C2-4B80-808B-EC430A6636F0}" dt="2021-09-24T09:37:14.003" v="6591"/>
          <ac:picMkLst>
            <pc:docMk/>
            <pc:sldMk cId="2715760571" sldId="311"/>
            <ac:picMk id="331" creationId="{07776989-3012-448A-B792-6035EC30C0C7}"/>
          </ac:picMkLst>
        </pc:picChg>
        <pc:picChg chg="mod ord">
          <ac:chgData name="PROVENCHERE Sandrine" userId="ad1decff-d2ce-4d29-9d90-3591b80bc438" providerId="ADAL" clId="{B825B95D-54C2-4B80-808B-EC430A6636F0}" dt="2021-09-24T09:37:13.927" v="6402"/>
          <ac:picMkLst>
            <pc:docMk/>
            <pc:sldMk cId="2715760571" sldId="311"/>
            <ac:picMk id="628" creationId="{28B31F95-BE17-4F95-B08B-A75F5988F9D5}"/>
          </ac:picMkLst>
        </pc:picChg>
        <pc:cxnChg chg="add mod ord">
          <ac:chgData name="PROVENCHERE Sandrine" userId="ad1decff-d2ce-4d29-9d90-3591b80bc438" providerId="ADAL" clId="{B825B95D-54C2-4B80-808B-EC430A6636F0}" dt="2021-09-24T09:37:13.972" v="6511"/>
          <ac:cxnSpMkLst>
            <pc:docMk/>
            <pc:sldMk cId="2715760571" sldId="311"/>
            <ac:cxnSpMk id="4" creationId="{ED80DA2B-47C8-47B1-AFB7-5FC763270831}"/>
          </ac:cxnSpMkLst>
        </pc:cxnChg>
        <pc:cxnChg chg="mod ord">
          <ac:chgData name="PROVENCHERE Sandrine" userId="ad1decff-d2ce-4d29-9d90-3591b80bc438" providerId="ADAL" clId="{B825B95D-54C2-4B80-808B-EC430A6636F0}" dt="2021-09-24T09:37:14.014" v="6650"/>
          <ac:cxnSpMkLst>
            <pc:docMk/>
            <pc:sldMk cId="2715760571" sldId="311"/>
            <ac:cxnSpMk id="7" creationId="{62A22F70-FB03-456A-83CB-014703592A3E}"/>
          </ac:cxnSpMkLst>
        </pc:cxnChg>
        <pc:cxnChg chg="add mod ord">
          <ac:chgData name="PROVENCHERE Sandrine" userId="ad1decff-d2ce-4d29-9d90-3591b80bc438" providerId="ADAL" clId="{B825B95D-54C2-4B80-808B-EC430A6636F0}" dt="2021-09-24T09:37:13.974" v="6513"/>
          <ac:cxnSpMkLst>
            <pc:docMk/>
            <pc:sldMk cId="2715760571" sldId="311"/>
            <ac:cxnSpMk id="12" creationId="{6F679206-3DC2-4012-8017-4B807F48499C}"/>
          </ac:cxnSpMkLst>
        </pc:cxnChg>
        <pc:cxnChg chg="add mod ord">
          <ac:chgData name="PROVENCHERE Sandrine" userId="ad1decff-d2ce-4d29-9d90-3591b80bc438" providerId="ADAL" clId="{B825B95D-54C2-4B80-808B-EC430A6636F0}" dt="2021-09-24T09:37:13.974" v="6515"/>
          <ac:cxnSpMkLst>
            <pc:docMk/>
            <pc:sldMk cId="2715760571" sldId="311"/>
            <ac:cxnSpMk id="14" creationId="{D49100A0-C151-4CA3-A7BC-FD2749A72A3C}"/>
          </ac:cxnSpMkLst>
        </pc:cxnChg>
        <pc:cxnChg chg="add mod ord">
          <ac:chgData name="PROVENCHERE Sandrine" userId="ad1decff-d2ce-4d29-9d90-3591b80bc438" providerId="ADAL" clId="{B825B95D-54C2-4B80-808B-EC430A6636F0}" dt="2021-09-24T09:37:13.972" v="6509"/>
          <ac:cxnSpMkLst>
            <pc:docMk/>
            <pc:sldMk cId="2715760571" sldId="311"/>
            <ac:cxnSpMk id="15" creationId="{F5F2A09A-D365-4B86-BDF7-F29A39758932}"/>
          </ac:cxnSpMkLst>
        </pc:cxnChg>
        <pc:cxnChg chg="add mod ord">
          <ac:chgData name="PROVENCHERE Sandrine" userId="ad1decff-d2ce-4d29-9d90-3591b80bc438" providerId="ADAL" clId="{B825B95D-54C2-4B80-808B-EC430A6636F0}" dt="2021-09-24T09:37:13.984" v="6547"/>
          <ac:cxnSpMkLst>
            <pc:docMk/>
            <pc:sldMk cId="2715760571" sldId="311"/>
            <ac:cxnSpMk id="24" creationId="{11B8B09D-36B8-4ACE-8D68-500FE4CE1F92}"/>
          </ac:cxnSpMkLst>
        </pc:cxnChg>
        <pc:cxnChg chg="add mod ord">
          <ac:chgData name="PROVENCHERE Sandrine" userId="ad1decff-d2ce-4d29-9d90-3591b80bc438" providerId="ADAL" clId="{B825B95D-54C2-4B80-808B-EC430A6636F0}" dt="2021-09-24T09:37:13.984" v="6545"/>
          <ac:cxnSpMkLst>
            <pc:docMk/>
            <pc:sldMk cId="2715760571" sldId="311"/>
            <ac:cxnSpMk id="26" creationId="{41AA9206-C201-4B98-9269-0A817B3170CA}"/>
          </ac:cxnSpMkLst>
        </pc:cxnChg>
        <pc:cxnChg chg="add mod ord">
          <ac:chgData name="PROVENCHERE Sandrine" userId="ad1decff-d2ce-4d29-9d90-3591b80bc438" providerId="ADAL" clId="{B825B95D-54C2-4B80-808B-EC430A6636F0}" dt="2021-09-24T09:37:13.984" v="6549"/>
          <ac:cxnSpMkLst>
            <pc:docMk/>
            <pc:sldMk cId="2715760571" sldId="311"/>
            <ac:cxnSpMk id="27" creationId="{8B3CAAB4-9345-46D6-90B7-F1DFD5C4CE33}"/>
          </ac:cxnSpMkLst>
        </pc:cxnChg>
        <pc:cxnChg chg="add mod ord">
          <ac:chgData name="PROVENCHERE Sandrine" userId="ad1decff-d2ce-4d29-9d90-3591b80bc438" providerId="ADAL" clId="{B825B95D-54C2-4B80-808B-EC430A6636F0}" dt="2021-09-24T09:37:13.984" v="6551"/>
          <ac:cxnSpMkLst>
            <pc:docMk/>
            <pc:sldMk cId="2715760571" sldId="311"/>
            <ac:cxnSpMk id="29" creationId="{648A47E9-1630-478E-B25C-4F567BC60775}"/>
          </ac:cxnSpMkLst>
        </pc:cxnChg>
        <pc:cxnChg chg="del">
          <ac:chgData name="PROVENCHERE Sandrine" userId="ad1decff-d2ce-4d29-9d90-3591b80bc438" providerId="ADAL" clId="{B825B95D-54C2-4B80-808B-EC430A6636F0}" dt="2021-09-21T13:01:17.306" v="1432"/>
          <ac:cxnSpMkLst>
            <pc:docMk/>
            <pc:sldMk cId="2715760571" sldId="311"/>
            <ac:cxnSpMk id="182" creationId="{89C9F05F-BAFB-490E-9311-7BB8EB226F95}"/>
          </ac:cxnSpMkLst>
        </pc:cxnChg>
        <pc:cxnChg chg="del">
          <ac:chgData name="PROVENCHERE Sandrine" userId="ad1decff-d2ce-4d29-9d90-3591b80bc438" providerId="ADAL" clId="{B825B95D-54C2-4B80-808B-EC430A6636F0}" dt="2021-09-21T13:01:17.321" v="1447"/>
          <ac:cxnSpMkLst>
            <pc:docMk/>
            <pc:sldMk cId="2715760571" sldId="311"/>
            <ac:cxnSpMk id="183" creationId="{E784DC67-8C29-4FAC-828A-8625BFD6D67A}"/>
          </ac:cxnSpMkLst>
        </pc:cxnChg>
        <pc:cxnChg chg="del">
          <ac:chgData name="PROVENCHERE Sandrine" userId="ad1decff-d2ce-4d29-9d90-3591b80bc438" providerId="ADAL" clId="{B825B95D-54C2-4B80-808B-EC430A6636F0}" dt="2021-09-21T13:01:17.330" v="1463"/>
          <ac:cxnSpMkLst>
            <pc:docMk/>
            <pc:sldMk cId="2715760571" sldId="311"/>
            <ac:cxnSpMk id="184" creationId="{B2984EC8-102D-4C3A-BDEF-B477C94A825B}"/>
          </ac:cxnSpMkLst>
        </pc:cxnChg>
        <pc:cxnChg chg="del">
          <ac:chgData name="PROVENCHERE Sandrine" userId="ad1decff-d2ce-4d29-9d90-3591b80bc438" providerId="ADAL" clId="{B825B95D-54C2-4B80-808B-EC430A6636F0}" dt="2021-09-21T13:01:17.341" v="1479"/>
          <ac:cxnSpMkLst>
            <pc:docMk/>
            <pc:sldMk cId="2715760571" sldId="311"/>
            <ac:cxnSpMk id="186" creationId="{00557F1D-AD54-4D7A-94BA-920B1991150A}"/>
          </ac:cxnSpMkLst>
        </pc:cxnChg>
        <pc:cxnChg chg="del mod ord">
          <ac:chgData name="PROVENCHERE Sandrine" userId="ad1decff-d2ce-4d29-9d90-3591b80bc438" providerId="ADAL" clId="{B825B95D-54C2-4B80-808B-EC430A6636F0}" dt="2021-09-21T13:01:23.016" v="2120"/>
          <ac:cxnSpMkLst>
            <pc:docMk/>
            <pc:sldMk cId="2715760571" sldId="311"/>
            <ac:cxnSpMk id="212" creationId="{9AD761A7-3D08-4463-87C3-F74399D86F07}"/>
          </ac:cxnSpMkLst>
        </pc:cxnChg>
        <pc:cxnChg chg="del mod ord">
          <ac:chgData name="PROVENCHERE Sandrine" userId="ad1decff-d2ce-4d29-9d90-3591b80bc438" providerId="ADAL" clId="{B825B95D-54C2-4B80-808B-EC430A6636F0}" dt="2021-09-21T13:04:46.210" v="2512" actId="478"/>
          <ac:cxnSpMkLst>
            <pc:docMk/>
            <pc:sldMk cId="2715760571" sldId="311"/>
            <ac:cxnSpMk id="215" creationId="{7194423D-DA2E-4AA9-A87C-F19BCCFE6E94}"/>
          </ac:cxnSpMkLst>
        </pc:cxnChg>
        <pc:cxnChg chg="del mod ord">
          <ac:chgData name="PROVENCHERE Sandrine" userId="ad1decff-d2ce-4d29-9d90-3591b80bc438" providerId="ADAL" clId="{B825B95D-54C2-4B80-808B-EC430A6636F0}" dt="2021-09-21T13:01:23.026" v="2135"/>
          <ac:cxnSpMkLst>
            <pc:docMk/>
            <pc:sldMk cId="2715760571" sldId="311"/>
            <ac:cxnSpMk id="216" creationId="{0803B770-41E7-4D20-B8A6-B12B4C84190F}"/>
          </ac:cxnSpMkLst>
        </pc:cxnChg>
        <pc:cxnChg chg="del mod ord">
          <ac:chgData name="PROVENCHERE Sandrine" userId="ad1decff-d2ce-4d29-9d90-3591b80bc438" providerId="ADAL" clId="{B825B95D-54C2-4B80-808B-EC430A6636F0}" dt="2021-09-21T13:01:23.036" v="2151"/>
          <ac:cxnSpMkLst>
            <pc:docMk/>
            <pc:sldMk cId="2715760571" sldId="311"/>
            <ac:cxnSpMk id="217" creationId="{40A83792-5BE9-4BF4-83BA-5A859B894BF2}"/>
          </ac:cxnSpMkLst>
        </pc:cxnChg>
        <pc:cxnChg chg="del mod ord">
          <ac:chgData name="PROVENCHERE Sandrine" userId="ad1decff-d2ce-4d29-9d90-3591b80bc438" providerId="ADAL" clId="{B825B95D-54C2-4B80-808B-EC430A6636F0}" dt="2021-09-21T13:01:23.046" v="2167"/>
          <ac:cxnSpMkLst>
            <pc:docMk/>
            <pc:sldMk cId="2715760571" sldId="311"/>
            <ac:cxnSpMk id="218" creationId="{B174256C-A32F-4B5E-8EC6-3AB038DF77DA}"/>
          </ac:cxnSpMkLst>
        </pc:cxnChg>
        <pc:cxnChg chg="mod">
          <ac:chgData name="PROVENCHERE Sandrine" userId="ad1decff-d2ce-4d29-9d90-3591b80bc438" providerId="ADAL" clId="{B825B95D-54C2-4B80-808B-EC430A6636F0}" dt="2021-09-21T13:03:27.881" v="2503" actId="12788"/>
          <ac:cxnSpMkLst>
            <pc:docMk/>
            <pc:sldMk cId="2715760571" sldId="311"/>
            <ac:cxnSpMk id="234" creationId="{FC4E85DB-0484-4A71-87F1-67F87994B7D1}"/>
          </ac:cxnSpMkLst>
        </pc:cxnChg>
        <pc:cxnChg chg="mod ord">
          <ac:chgData name="PROVENCHERE Sandrine" userId="ad1decff-d2ce-4d29-9d90-3591b80bc438" providerId="ADAL" clId="{B825B95D-54C2-4B80-808B-EC430A6636F0}" dt="2021-09-24T09:37:13.927" v="6434"/>
          <ac:cxnSpMkLst>
            <pc:docMk/>
            <pc:sldMk cId="2715760571" sldId="311"/>
            <ac:cxnSpMk id="236" creationId="{AA1FDE45-0B9D-4D01-B3C9-677FB72BB1FD}"/>
          </ac:cxnSpMkLst>
        </pc:cxnChg>
        <pc:cxnChg chg="mod ord">
          <ac:chgData name="PROVENCHERE Sandrine" userId="ad1decff-d2ce-4d29-9d90-3591b80bc438" providerId="ADAL" clId="{B825B95D-54C2-4B80-808B-EC430A6636F0}" dt="2021-09-24T09:37:13.927" v="6432"/>
          <ac:cxnSpMkLst>
            <pc:docMk/>
            <pc:sldMk cId="2715760571" sldId="311"/>
            <ac:cxnSpMk id="237" creationId="{7465A2B5-A087-41D9-BDCF-605FFF5D9968}"/>
          </ac:cxnSpMkLst>
        </pc:cxnChg>
        <pc:cxnChg chg="mod ord">
          <ac:chgData name="PROVENCHERE Sandrine" userId="ad1decff-d2ce-4d29-9d90-3591b80bc438" providerId="ADAL" clId="{B825B95D-54C2-4B80-808B-EC430A6636F0}" dt="2021-09-24T09:37:13.941" v="6436"/>
          <ac:cxnSpMkLst>
            <pc:docMk/>
            <pc:sldMk cId="2715760571" sldId="311"/>
            <ac:cxnSpMk id="238" creationId="{E9D357AF-B119-44D4-A938-72657FD66F59}"/>
          </ac:cxnSpMkLst>
        </pc:cxnChg>
        <pc:cxnChg chg="mod ord">
          <ac:chgData name="PROVENCHERE Sandrine" userId="ad1decff-d2ce-4d29-9d90-3591b80bc438" providerId="ADAL" clId="{B825B95D-54C2-4B80-808B-EC430A6636F0}" dt="2021-09-24T09:37:13.941" v="6438"/>
          <ac:cxnSpMkLst>
            <pc:docMk/>
            <pc:sldMk cId="2715760571" sldId="311"/>
            <ac:cxnSpMk id="239" creationId="{13F1A2BD-C98E-43DB-8866-363DC24BF961}"/>
          </ac:cxnSpMkLst>
        </pc:cxnChg>
        <pc:cxnChg chg="mod ord">
          <ac:chgData name="PROVENCHERE Sandrine" userId="ad1decff-d2ce-4d29-9d90-3591b80bc438" providerId="ADAL" clId="{B825B95D-54C2-4B80-808B-EC430A6636F0}" dt="2021-09-24T09:37:13.943" v="6440"/>
          <ac:cxnSpMkLst>
            <pc:docMk/>
            <pc:sldMk cId="2715760571" sldId="311"/>
            <ac:cxnSpMk id="240" creationId="{128DD387-22BD-42A3-B808-54C04F58229B}"/>
          </ac:cxnSpMkLst>
        </pc:cxnChg>
        <pc:cxnChg chg="mod">
          <ac:chgData name="PROVENCHERE Sandrine" userId="ad1decff-d2ce-4d29-9d90-3591b80bc438" providerId="ADAL" clId="{B825B95D-54C2-4B80-808B-EC430A6636F0}" dt="2021-09-21T13:03:44.042" v="2506"/>
          <ac:cxnSpMkLst>
            <pc:docMk/>
            <pc:sldMk cId="2715760571" sldId="311"/>
            <ac:cxnSpMk id="249" creationId="{81044297-E5A8-4C35-8276-DEDF63A3C48A}"/>
          </ac:cxnSpMkLst>
        </pc:cxnChg>
        <pc:cxnChg chg="mod">
          <ac:chgData name="PROVENCHERE Sandrine" userId="ad1decff-d2ce-4d29-9d90-3591b80bc438" providerId="ADAL" clId="{B825B95D-54C2-4B80-808B-EC430A6636F0}" dt="2021-09-21T13:03:44.042" v="2506"/>
          <ac:cxnSpMkLst>
            <pc:docMk/>
            <pc:sldMk cId="2715760571" sldId="311"/>
            <ac:cxnSpMk id="256" creationId="{C2FE7639-A5B3-41CC-BF86-4965D97C6EDF}"/>
          </ac:cxnSpMkLst>
        </pc:cxnChg>
        <pc:cxnChg chg="mod ord">
          <ac:chgData name="PROVENCHERE Sandrine" userId="ad1decff-d2ce-4d29-9d90-3591b80bc438" providerId="ADAL" clId="{B825B95D-54C2-4B80-808B-EC430A6636F0}" dt="2021-09-24T09:37:13.944" v="6452"/>
          <ac:cxnSpMkLst>
            <pc:docMk/>
            <pc:sldMk cId="2715760571" sldId="311"/>
            <ac:cxnSpMk id="258" creationId="{E8E7019A-5327-4CE4-BFA7-3C388DC4E25E}"/>
          </ac:cxnSpMkLst>
        </pc:cxnChg>
        <pc:cxnChg chg="mod ord">
          <ac:chgData name="PROVENCHERE Sandrine" userId="ad1decff-d2ce-4d29-9d90-3591b80bc438" providerId="ADAL" clId="{B825B95D-54C2-4B80-808B-EC430A6636F0}" dt="2021-09-24T09:37:14.014" v="6653"/>
          <ac:cxnSpMkLst>
            <pc:docMk/>
            <pc:sldMk cId="2715760571" sldId="311"/>
            <ac:cxnSpMk id="279" creationId="{96EB7270-1670-4F9D-A817-68DA75900D78}"/>
          </ac:cxnSpMkLst>
        </pc:cxnChg>
        <pc:cxnChg chg="mod ord">
          <ac:chgData name="PROVENCHERE Sandrine" userId="ad1decff-d2ce-4d29-9d90-3591b80bc438" providerId="ADAL" clId="{B825B95D-54C2-4B80-808B-EC430A6636F0}" dt="2021-09-24T09:37:13.944" v="6456"/>
          <ac:cxnSpMkLst>
            <pc:docMk/>
            <pc:sldMk cId="2715760571" sldId="311"/>
            <ac:cxnSpMk id="286" creationId="{792D639D-417A-4350-96F5-6C3B528BEBB9}"/>
          </ac:cxnSpMkLst>
        </pc:cxnChg>
        <pc:cxnChg chg="mod ord">
          <ac:chgData name="PROVENCHERE Sandrine" userId="ad1decff-d2ce-4d29-9d90-3591b80bc438" providerId="ADAL" clId="{B825B95D-54C2-4B80-808B-EC430A6636F0}" dt="2021-09-24T09:37:13.944" v="6458"/>
          <ac:cxnSpMkLst>
            <pc:docMk/>
            <pc:sldMk cId="2715760571" sldId="311"/>
            <ac:cxnSpMk id="292" creationId="{4EB1CD05-6D2E-4B27-BE3A-C5D18551CFBC}"/>
          </ac:cxnSpMkLst>
        </pc:cxnChg>
        <pc:cxnChg chg="mod ord">
          <ac:chgData name="PROVENCHERE Sandrine" userId="ad1decff-d2ce-4d29-9d90-3591b80bc438" providerId="ADAL" clId="{B825B95D-54C2-4B80-808B-EC430A6636F0}" dt="2021-09-24T09:37:13.944" v="6454"/>
          <ac:cxnSpMkLst>
            <pc:docMk/>
            <pc:sldMk cId="2715760571" sldId="311"/>
            <ac:cxnSpMk id="293" creationId="{3BD8CEDC-D973-47B5-AC94-45DBAEF262DA}"/>
          </ac:cxnSpMkLst>
        </pc:cxnChg>
        <pc:cxnChg chg="mod ord">
          <ac:chgData name="PROVENCHERE Sandrine" userId="ad1decff-d2ce-4d29-9d90-3591b80bc438" providerId="ADAL" clId="{B825B95D-54C2-4B80-808B-EC430A6636F0}" dt="2021-09-24T09:37:13.944" v="6460"/>
          <ac:cxnSpMkLst>
            <pc:docMk/>
            <pc:sldMk cId="2715760571" sldId="311"/>
            <ac:cxnSpMk id="294" creationId="{4A4D7B39-E4E5-49A1-9AFF-D7FD943668B1}"/>
          </ac:cxnSpMkLst>
        </pc:cxnChg>
        <pc:cxnChg chg="mod ord">
          <ac:chgData name="PROVENCHERE Sandrine" userId="ad1decff-d2ce-4d29-9d90-3591b80bc438" providerId="ADAL" clId="{B825B95D-54C2-4B80-808B-EC430A6636F0}" dt="2021-09-24T09:37:13.952" v="6462"/>
          <ac:cxnSpMkLst>
            <pc:docMk/>
            <pc:sldMk cId="2715760571" sldId="311"/>
            <ac:cxnSpMk id="295" creationId="{74B4828D-8D30-402D-8676-15BCB2E86513}"/>
          </ac:cxnSpMkLst>
        </pc:cxnChg>
        <pc:cxnChg chg="add mod ord">
          <ac:chgData name="PROVENCHERE Sandrine" userId="ad1decff-d2ce-4d29-9d90-3591b80bc438" providerId="ADAL" clId="{B825B95D-54C2-4B80-808B-EC430A6636F0}" dt="2021-09-24T09:37:14.014" v="6647"/>
          <ac:cxnSpMkLst>
            <pc:docMk/>
            <pc:sldMk cId="2715760571" sldId="311"/>
            <ac:cxnSpMk id="300" creationId="{49301923-45A2-4EFD-8E4B-5AD618109A8D}"/>
          </ac:cxnSpMkLst>
        </pc:cxnChg>
        <pc:cxnChg chg="mod ord">
          <ac:chgData name="PROVENCHERE Sandrine" userId="ad1decff-d2ce-4d29-9d90-3591b80bc438" providerId="ADAL" clId="{B825B95D-54C2-4B80-808B-EC430A6636F0}" dt="2021-09-24T09:37:13.927" v="6420"/>
          <ac:cxnSpMkLst>
            <pc:docMk/>
            <pc:sldMk cId="2715760571" sldId="311"/>
            <ac:cxnSpMk id="320" creationId="{F605B200-D509-4610-9158-195EB3354579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erametgroup-my.sharepoint.com/personal/sandrine_provenchere_eramet_com/Documents/06_DASHBOARD/Dashboard-Suivi-Mensuel-Aero/DASHBOARD/2021_Dashboard_march&#233;-AER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erametgroup-my.sharepoint.com/personal/sandrine_provenchere_eramet_com/Documents/06_DASHBOARD/Dashboard-Suivi-Mensuel-Aero/DASHBOARD/2021_Dashboard_march&#233;-AER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689793195463642E-2"/>
          <c:y val="0.10366398570151922"/>
          <c:w val="0.93062041360907266"/>
          <c:h val="0.849865951742627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2A3-4A73-A292-6CFBF5DD213A}"/>
              </c:ext>
            </c:extLst>
          </c:dPt>
          <c:dPt>
            <c:idx val="5"/>
            <c:invertIfNegative val="0"/>
            <c:bubble3D val="0"/>
            <c:spPr>
              <a:solidFill>
                <a:srgbClr val="FDC1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2A3-4A73-A292-6CFBF5DD213A}"/>
              </c:ext>
            </c:extLst>
          </c:dPt>
          <c:dLbls>
            <c:dLbl>
              <c:idx val="0"/>
              <c:layout>
                <c:manualLayout>
                  <c:x val="0"/>
                  <c:y val="-8.93655049151027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2A3-4A73-A292-6CFBF5DD213A}"/>
                </c:ext>
              </c:extLst>
            </c:dLbl>
            <c:dLbl>
              <c:idx val="5"/>
              <c:layout>
                <c:manualLayout>
                  <c:x val="0"/>
                  <c:y val="-0.478105451295799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2A3-4A73-A292-6CFBF5DD2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1</c:v>
                </c:pt>
                <c:pt idx="1">
                  <c:v>11</c:v>
                </c:pt>
                <c:pt idx="2">
                  <c:v>61</c:v>
                </c:pt>
                <c:pt idx="3">
                  <c:v>79</c:v>
                </c:pt>
                <c:pt idx="4">
                  <c:v>94.3</c:v>
                </c:pt>
                <c:pt idx="5">
                  <c:v>9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A3-4A73-A292-6CFBF5DD213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2A3-4A73-A292-6CFBF5DD213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2A3-4A73-A292-6CFBF5DD213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2A3-4A73-A292-6CFBF5DD2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50</c:v>
                </c:pt>
                <c:pt idx="2">
                  <c:v>18</c:v>
                </c:pt>
                <c:pt idx="3">
                  <c:v>15.299999999999997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2A3-4A73-A292-6CFBF5DD2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0153784"/>
        <c:axId val="1"/>
      </c:barChart>
      <c:catAx>
        <c:axId val="1020153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4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0153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689793195463642E-2"/>
          <c:y val="0.10450450450450451"/>
          <c:w val="0.93062041360907266"/>
          <c:h val="0.8486486486486486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A8-45D2-8F40-E1E8F46429BA}"/>
              </c:ext>
            </c:extLst>
          </c:dPt>
          <c:dPt>
            <c:idx val="5"/>
            <c:invertIfNegative val="0"/>
            <c:bubble3D val="0"/>
            <c:spPr>
              <a:solidFill>
                <a:srgbClr val="FDC1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9A8-45D2-8F40-E1E8F46429B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9A8-45D2-8F40-E1E8F46429BA}"/>
                </c:ext>
              </c:extLst>
            </c:dLbl>
            <c:dLbl>
              <c:idx val="5"/>
              <c:layout>
                <c:manualLayout>
                  <c:x val="0"/>
                  <c:y val="-0.477477477477477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A8-45D2-8F40-E1E8F46429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448.5</c:v>
                </c:pt>
                <c:pt idx="1">
                  <c:v>448.5</c:v>
                </c:pt>
                <c:pt idx="2">
                  <c:v>464.5</c:v>
                </c:pt>
                <c:pt idx="3">
                  <c:v>474.5</c:v>
                </c:pt>
                <c:pt idx="4">
                  <c:v>497.5</c:v>
                </c:pt>
                <c:pt idx="5">
                  <c:v>595.2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9A8-45D2-8F40-E1E8F46429B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A8-45D2-8F40-E1E8F46429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16</c:v>
                </c:pt>
                <c:pt idx="2">
                  <c:v>10</c:v>
                </c:pt>
                <c:pt idx="3">
                  <c:v>23</c:v>
                </c:pt>
                <c:pt idx="4">
                  <c:v>97.799999999999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A8-45D2-8F40-E1E8F4642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3220536"/>
        <c:axId val="1"/>
      </c:barChart>
      <c:catAx>
        <c:axId val="973220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5.299999999999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73220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76338514680483"/>
          <c:y val="5.0621669626998225E-2"/>
          <c:w val="0.86917098445595853"/>
          <c:h val="0.89875666074600358"/>
        </c:manualLayout>
      </c:layout>
      <c:lineChart>
        <c:grouping val="standard"/>
        <c:varyColors val="0"/>
        <c:ser>
          <c:idx val="0"/>
          <c:order val="0"/>
          <c:spPr>
            <a:ln w="19050" cap="flat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777-4A92-AF36-60AF04F47205}"/>
                </c:ext>
              </c:extLst>
            </c:dLbl>
            <c:dLbl>
              <c:idx val="2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777-4A92-AF36-60AF04F47205}"/>
                </c:ext>
              </c:extLst>
            </c:dLbl>
            <c:dLbl>
              <c:idx val="4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777-4A92-AF36-60AF04F47205}"/>
                </c:ext>
              </c:extLst>
            </c:dLbl>
            <c:dLbl>
              <c:idx val="7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777-4A92-AF36-60AF04F47205}"/>
                </c:ext>
              </c:extLst>
            </c:dLbl>
            <c:dLbl>
              <c:idx val="10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777-4A92-AF36-60AF04F47205}"/>
                </c:ext>
              </c:extLst>
            </c:dLbl>
            <c:dLbl>
              <c:idx val="12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777-4A92-AF36-60AF04F4720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39</c:v>
                </c:pt>
                <c:pt idx="1">
                  <c:v>57</c:v>
                </c:pt>
                <c:pt idx="2">
                  <c:v>72</c:v>
                </c:pt>
                <c:pt idx="3">
                  <c:v>64</c:v>
                </c:pt>
                <c:pt idx="4">
                  <c:v>89</c:v>
                </c:pt>
                <c:pt idx="5">
                  <c:v>21</c:v>
                </c:pt>
                <c:pt idx="6">
                  <c:v>32</c:v>
                </c:pt>
                <c:pt idx="7">
                  <c:v>72</c:v>
                </c:pt>
                <c:pt idx="8">
                  <c:v>45</c:v>
                </c:pt>
                <c:pt idx="9">
                  <c:v>50</c:v>
                </c:pt>
                <c:pt idx="10">
                  <c:v>77</c:v>
                </c:pt>
                <c:pt idx="11">
                  <c:v>47</c:v>
                </c:pt>
                <c:pt idx="12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777-4A92-AF36-60AF04F47205}"/>
            </c:ext>
          </c:extLst>
        </c:ser>
        <c:ser>
          <c:idx val="1"/>
          <c:order val="1"/>
          <c:spPr>
            <a:ln w="3175" cap="flat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val>
            <c:numRef>
              <c:f>Sheet1!$A$2:$M$2</c:f>
              <c:numCache>
                <c:formatCode>General</c:formatCode>
                <c:ptCount val="13"/>
                <c:pt idx="0">
                  <c:v>35</c:v>
                </c:pt>
                <c:pt idx="1">
                  <c:v>43</c:v>
                </c:pt>
                <c:pt idx="2">
                  <c:v>43</c:v>
                </c:pt>
                <c:pt idx="3">
                  <c:v>54</c:v>
                </c:pt>
                <c:pt idx="4">
                  <c:v>67</c:v>
                </c:pt>
                <c:pt idx="5">
                  <c:v>16</c:v>
                </c:pt>
                <c:pt idx="6">
                  <c:v>29</c:v>
                </c:pt>
                <c:pt idx="7">
                  <c:v>60</c:v>
                </c:pt>
                <c:pt idx="8">
                  <c:v>34</c:v>
                </c:pt>
                <c:pt idx="9">
                  <c:v>41</c:v>
                </c:pt>
                <c:pt idx="10">
                  <c:v>57</c:v>
                </c:pt>
                <c:pt idx="11">
                  <c:v>41</c:v>
                </c:pt>
                <c:pt idx="12">
                  <c:v>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777-4A92-AF36-60AF04F47205}"/>
            </c:ext>
          </c:extLst>
        </c:ser>
        <c:ser>
          <c:idx val="2"/>
          <c:order val="2"/>
          <c:spPr>
            <a:ln w="19050" cap="flat" algn="ctr">
              <a:solidFill>
                <a:schemeClr val="accent1"/>
              </a:solidFill>
              <a:prstDash val="lgDash"/>
            </a:ln>
          </c:spPr>
          <c:marker>
            <c:symbol val="none"/>
          </c:marker>
          <c:val>
            <c:numRef>
              <c:f>Sheet1!$A$3:$M$3</c:f>
              <c:numCache>
                <c:formatCode>General</c:formatCode>
                <c:ptCount val="1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1</c:v>
                </c:pt>
                <c:pt idx="4">
                  <c:v>5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3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777-4A92-AF36-60AF04F47205}"/>
            </c:ext>
          </c:extLst>
        </c:ser>
        <c:ser>
          <c:idx val="3"/>
          <c:order val="3"/>
          <c:spPr>
            <a:ln w="3175" cap="flat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val>
            <c:numRef>
              <c:f>Sheet1!$A$4:$M$4</c:f>
              <c:numCache>
                <c:formatCode>General</c:formatCode>
                <c:ptCount val="13"/>
                <c:pt idx="0">
                  <c:v>2</c:v>
                </c:pt>
                <c:pt idx="1">
                  <c:v>7</c:v>
                </c:pt>
                <c:pt idx="2">
                  <c:v>12</c:v>
                </c:pt>
                <c:pt idx="3">
                  <c:v>7</c:v>
                </c:pt>
                <c:pt idx="4">
                  <c:v>8</c:v>
                </c:pt>
                <c:pt idx="5">
                  <c:v>1</c:v>
                </c:pt>
                <c:pt idx="6">
                  <c:v>1</c:v>
                </c:pt>
                <c:pt idx="7">
                  <c:v>8</c:v>
                </c:pt>
                <c:pt idx="8">
                  <c:v>6</c:v>
                </c:pt>
                <c:pt idx="9">
                  <c:v>3</c:v>
                </c:pt>
                <c:pt idx="10">
                  <c:v>12</c:v>
                </c:pt>
                <c:pt idx="11">
                  <c:v>2</c:v>
                </c:pt>
                <c:pt idx="1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D777-4A92-AF36-60AF04F472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49949784"/>
        <c:axId val="1"/>
      </c:lineChart>
      <c:catAx>
        <c:axId val="949949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ap="flat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2"/>
                </a:solidFill>
                <a:latin typeface="Calibri"/>
                <a:ea typeface="+mn-ea"/>
                <a:cs typeface="Calibri"/>
                <a:sym typeface="Calibri"/>
              </a:defRPr>
            </a:pPr>
            <a:endParaRPr lang="fr-FR"/>
          </a:p>
        </c:txPr>
        <c:crossAx val="949949784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596491228070173E-2"/>
          <c:y val="0.1045958795562599"/>
          <c:w val="0.88289473684210529"/>
          <c:h val="0.85023771790808245"/>
        </c:manualLayout>
      </c:layout>
      <c:lineChart>
        <c:grouping val="standard"/>
        <c:varyColors val="0"/>
        <c:ser>
          <c:idx val="0"/>
          <c:order val="0"/>
          <c:spPr>
            <a:ln w="19050" cap="flat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070175438596492E-2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429-42EE-85BE-1CFD8E979B05}"/>
                </c:ext>
              </c:extLst>
            </c:dLbl>
            <c:dLbl>
              <c:idx val="1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429-42EE-85BE-1CFD8E979B05}"/>
                </c:ext>
              </c:extLst>
            </c:dLbl>
            <c:dLbl>
              <c:idx val="2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429-42EE-85BE-1CFD8E979B05}"/>
                </c:ext>
              </c:extLst>
            </c:dLbl>
            <c:dLbl>
              <c:idx val="4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429-42EE-85BE-1CFD8E979B05}"/>
                </c:ext>
              </c:extLst>
            </c:dLbl>
            <c:dLbl>
              <c:idx val="6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429-42EE-85BE-1CFD8E979B05}"/>
                </c:ext>
              </c:extLst>
            </c:dLbl>
            <c:dLbl>
              <c:idx val="7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429-42EE-85BE-1CFD8E979B05}"/>
                </c:ext>
              </c:extLst>
            </c:dLbl>
            <c:dLbl>
              <c:idx val="10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429-42EE-85BE-1CFD8E979B05}"/>
                </c:ext>
              </c:extLst>
            </c:dLbl>
            <c:dLbl>
              <c:idx val="12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429-42EE-85BE-1CFD8E979B0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13</c:v>
                </c:pt>
                <c:pt idx="1">
                  <c:v>11</c:v>
                </c:pt>
                <c:pt idx="2">
                  <c:v>13</c:v>
                </c:pt>
                <c:pt idx="3">
                  <c:v>7</c:v>
                </c:pt>
                <c:pt idx="4">
                  <c:v>39</c:v>
                </c:pt>
                <c:pt idx="5">
                  <c:v>26</c:v>
                </c:pt>
                <c:pt idx="6">
                  <c:v>22</c:v>
                </c:pt>
                <c:pt idx="7">
                  <c:v>29</c:v>
                </c:pt>
                <c:pt idx="8">
                  <c:v>17</c:v>
                </c:pt>
                <c:pt idx="9">
                  <c:v>17</c:v>
                </c:pt>
                <c:pt idx="10">
                  <c:v>45</c:v>
                </c:pt>
                <c:pt idx="11">
                  <c:v>28</c:v>
                </c:pt>
                <c:pt idx="12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29-42EE-85BE-1CFD8E979B05}"/>
            </c:ext>
          </c:extLst>
        </c:ser>
        <c:ser>
          <c:idx val="1"/>
          <c:order val="1"/>
          <c:spPr>
            <a:ln w="3175" cap="flat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val>
            <c:numRef>
              <c:f>Sheet1!$A$2:$M$2</c:f>
              <c:numCache>
                <c:formatCode>General</c:formatCode>
                <c:ptCount val="13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8</c:v>
                </c:pt>
                <c:pt idx="5">
                  <c:v>22</c:v>
                </c:pt>
                <c:pt idx="6">
                  <c:v>19</c:v>
                </c:pt>
                <c:pt idx="7">
                  <c:v>22</c:v>
                </c:pt>
                <c:pt idx="8">
                  <c:v>4</c:v>
                </c:pt>
                <c:pt idx="9">
                  <c:v>11</c:v>
                </c:pt>
                <c:pt idx="10">
                  <c:v>35</c:v>
                </c:pt>
                <c:pt idx="11">
                  <c:v>23</c:v>
                </c:pt>
                <c:pt idx="12">
                  <c:v>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3429-42EE-85BE-1CFD8E979B05}"/>
            </c:ext>
          </c:extLst>
        </c:ser>
        <c:ser>
          <c:idx val="2"/>
          <c:order val="2"/>
          <c:spPr>
            <a:ln w="19050" cap="flat" algn="ctr">
              <a:solidFill>
                <a:schemeClr val="accent1"/>
              </a:solidFill>
              <a:prstDash val="lgDash"/>
            </a:ln>
          </c:spPr>
          <c:marker>
            <c:symbol val="none"/>
          </c:marker>
          <c:val>
            <c:numRef>
              <c:f>Sheet1!$A$3:$M$3</c:f>
              <c:numCache>
                <c:formatCode>General</c:formatCode>
                <c:ptCount val="13"/>
                <c:pt idx="0">
                  <c:v>3</c:v>
                </c:pt>
                <c:pt idx="1">
                  <c:v>1</c:v>
                </c:pt>
                <c:pt idx="2">
                  <c:v>4</c:v>
                </c:pt>
                <c:pt idx="3">
                  <c:v>3</c:v>
                </c:pt>
                <c:pt idx="4">
                  <c:v>4</c:v>
                </c:pt>
                <c:pt idx="5">
                  <c:v>3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5</c:v>
                </c:pt>
                <c:pt idx="11">
                  <c:v>0</c:v>
                </c:pt>
                <c:pt idx="1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3429-42EE-85BE-1CFD8E979B05}"/>
            </c:ext>
          </c:extLst>
        </c:ser>
        <c:ser>
          <c:idx val="3"/>
          <c:order val="3"/>
          <c:spPr>
            <a:ln w="3175" cap="flat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val>
            <c:numRef>
              <c:f>Sheet1!$A$4:$M$4</c:f>
              <c:numCache>
                <c:formatCode>General</c:formatCode>
                <c:ptCount val="13"/>
                <c:pt idx="0">
                  <c:v>4</c:v>
                </c:pt>
                <c:pt idx="1">
                  <c:v>7</c:v>
                </c:pt>
                <c:pt idx="2">
                  <c:v>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9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3429-42EE-85BE-1CFD8E979B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0810064"/>
        <c:axId val="1"/>
      </c:lineChart>
      <c:catAx>
        <c:axId val="980810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ap="flat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fr-FR"/>
          </a:p>
        </c:txPr>
        <c:crossAx val="980810064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542324003392708"/>
          <c:y val="0"/>
          <c:w val="0.74457675996607298"/>
          <c:h val="0.955896675964667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GRAPHIQUES!$B$36</c:f>
              <c:strCache>
                <c:ptCount val="1"/>
                <c:pt idx="0">
                  <c:v>Commandes Brutes YT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6"/>
              <c:layout>
                <c:manualLayout>
                  <c:x val="-5.3859202714164646E-2"/>
                  <c:y val="1.3530372132372713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2FC-4892-883A-6D3EE2B685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37:$A$43</c:f>
              <c:strCache>
                <c:ptCount val="7"/>
                <c:pt idx="0">
                  <c:v>A220</c:v>
                </c:pt>
                <c:pt idx="1">
                  <c:v>A319 NEO</c:v>
                </c:pt>
                <c:pt idx="2">
                  <c:v>A320 NEO</c:v>
                </c:pt>
                <c:pt idx="3">
                  <c:v>A321 NEO</c:v>
                </c:pt>
                <c:pt idx="4">
                  <c:v>A330 NEO</c:v>
                </c:pt>
                <c:pt idx="5">
                  <c:v>A350</c:v>
                </c:pt>
                <c:pt idx="6">
                  <c:v>TOTAL</c:v>
                </c:pt>
              </c:strCache>
            </c:strRef>
          </c:cat>
          <c:val>
            <c:numRef>
              <c:f>GRAPHIQUES!$B$37:$B$43</c:f>
              <c:numCache>
                <c:formatCode>General</c:formatCode>
                <c:ptCount val="7"/>
                <c:pt idx="0">
                  <c:v>21</c:v>
                </c:pt>
                <c:pt idx="1">
                  <c:v>1</c:v>
                </c:pt>
                <c:pt idx="2">
                  <c:v>38</c:v>
                </c:pt>
                <c:pt idx="3">
                  <c:v>195</c:v>
                </c:pt>
                <c:pt idx="4">
                  <c:v>7</c:v>
                </c:pt>
                <c:pt idx="5">
                  <c:v>5</c:v>
                </c:pt>
                <c:pt idx="6">
                  <c:v>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FC-4892-883A-6D3EE2B68597}"/>
            </c:ext>
          </c:extLst>
        </c:ser>
        <c:ser>
          <c:idx val="1"/>
          <c:order val="1"/>
          <c:tx>
            <c:strRef>
              <c:f>GRAPHIQUES!$C$36</c:f>
              <c:strCache>
                <c:ptCount val="1"/>
                <c:pt idx="0">
                  <c:v>Annulation YTD</c:v>
                </c:pt>
              </c:strCache>
            </c:strRef>
          </c:tx>
          <c:spPr>
            <a:solidFill>
              <a:srgbClr val="9396B4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2FC-4892-883A-6D3EE2B6859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2FC-4892-883A-6D3EE2B68597}"/>
                </c:ext>
              </c:extLst>
            </c:dLbl>
            <c:dLbl>
              <c:idx val="6"/>
              <c:layout>
                <c:manualLayout>
                  <c:x val="-0.1292620865139949"/>
                  <c:y val="1.3530372132372713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2FC-4892-883A-6D3EE2B685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37:$A$43</c:f>
              <c:strCache>
                <c:ptCount val="7"/>
                <c:pt idx="0">
                  <c:v>A220</c:v>
                </c:pt>
                <c:pt idx="1">
                  <c:v>A319 NEO</c:v>
                </c:pt>
                <c:pt idx="2">
                  <c:v>A320 NEO</c:v>
                </c:pt>
                <c:pt idx="3">
                  <c:v>A321 NEO</c:v>
                </c:pt>
                <c:pt idx="4">
                  <c:v>A330 NEO</c:v>
                </c:pt>
                <c:pt idx="5">
                  <c:v>A350</c:v>
                </c:pt>
                <c:pt idx="6">
                  <c:v>TOTAL</c:v>
                </c:pt>
              </c:strCache>
            </c:strRef>
          </c:cat>
          <c:val>
            <c:numRef>
              <c:f>GRAPHIQUES!$C$37:$C$43</c:f>
              <c:numCache>
                <c:formatCode>General</c:formatCode>
                <c:ptCount val="7"/>
                <c:pt idx="0">
                  <c:v>-8</c:v>
                </c:pt>
                <c:pt idx="1">
                  <c:v>0</c:v>
                </c:pt>
                <c:pt idx="2">
                  <c:v>-80</c:v>
                </c:pt>
                <c:pt idx="3">
                  <c:v>-42</c:v>
                </c:pt>
                <c:pt idx="4">
                  <c:v>0</c:v>
                </c:pt>
                <c:pt idx="5">
                  <c:v>-7</c:v>
                </c:pt>
                <c:pt idx="6">
                  <c:v>-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FC-4892-883A-6D3EE2B6859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839199720"/>
        <c:axId val="769388208"/>
      </c:barChart>
      <c:catAx>
        <c:axId val="839199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769388208"/>
        <c:crosses val="autoZero"/>
        <c:auto val="1"/>
        <c:lblAlgn val="ctr"/>
        <c:lblOffset val="100"/>
        <c:noMultiLvlLbl val="0"/>
      </c:catAx>
      <c:valAx>
        <c:axId val="769388208"/>
        <c:scaling>
          <c:orientation val="minMax"/>
        </c:scaling>
        <c:delete val="1"/>
        <c:axPos val="t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39199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2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60549132947978"/>
          <c:y val="0"/>
          <c:w val="0.74610067437379568"/>
          <c:h val="0.9579986052998605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7"/>
              <c:layout>
                <c:manualLayout>
                  <c:x val="-0.11215478484264621"/>
                  <c:y val="5.8112505811250586E-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564-4669-8ED1-064EA11CEF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46:$A$53</c:f>
              <c:strCache>
                <c:ptCount val="8"/>
                <c:pt idx="0">
                  <c:v>737 NG</c:v>
                </c:pt>
                <c:pt idx="1">
                  <c:v>737MAX</c:v>
                </c:pt>
                <c:pt idx="2">
                  <c:v>747</c:v>
                </c:pt>
                <c:pt idx="3">
                  <c:v>767</c:v>
                </c:pt>
                <c:pt idx="4">
                  <c:v>777</c:v>
                </c:pt>
                <c:pt idx="5">
                  <c:v>777X</c:v>
                </c:pt>
                <c:pt idx="6">
                  <c:v>787</c:v>
                </c:pt>
                <c:pt idx="7">
                  <c:v>TOTAL</c:v>
                </c:pt>
              </c:strCache>
            </c:strRef>
          </c:cat>
          <c:val>
            <c:numRef>
              <c:f>GRAPHIQUES!$B$46:$B$53</c:f>
              <c:numCache>
                <c:formatCode>General</c:formatCode>
                <c:ptCount val="8"/>
                <c:pt idx="0">
                  <c:v>0</c:v>
                </c:pt>
                <c:pt idx="1">
                  <c:v>570</c:v>
                </c:pt>
                <c:pt idx="2">
                  <c:v>5</c:v>
                </c:pt>
                <c:pt idx="3">
                  <c:v>46</c:v>
                </c:pt>
                <c:pt idx="4">
                  <c:v>19</c:v>
                </c:pt>
                <c:pt idx="5">
                  <c:v>22</c:v>
                </c:pt>
                <c:pt idx="6">
                  <c:v>21</c:v>
                </c:pt>
                <c:pt idx="7">
                  <c:v>6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4-4669-8ED1-064EA11CEFD5}"/>
            </c:ext>
          </c:extLst>
        </c:ser>
        <c:ser>
          <c:idx val="1"/>
          <c:order val="1"/>
          <c:spPr>
            <a:solidFill>
              <a:srgbClr val="9396B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0.1172527296082209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564-4669-8ED1-064EA11CEFD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564-4669-8ED1-064EA11CEFD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564-4669-8ED1-064EA11CEFD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564-4669-8ED1-064EA11CEFD5}"/>
                </c:ext>
              </c:extLst>
            </c:dLbl>
            <c:dLbl>
              <c:idx val="7"/>
              <c:layout>
                <c:manualLayout>
                  <c:x val="-0.13254576107899801"/>
                  <c:y val="1.1622501162250117E-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564-4669-8ED1-064EA11CEF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46:$A$53</c:f>
              <c:strCache>
                <c:ptCount val="8"/>
                <c:pt idx="0">
                  <c:v>737 NG</c:v>
                </c:pt>
                <c:pt idx="1">
                  <c:v>737MAX</c:v>
                </c:pt>
                <c:pt idx="2">
                  <c:v>747</c:v>
                </c:pt>
                <c:pt idx="3">
                  <c:v>767</c:v>
                </c:pt>
                <c:pt idx="4">
                  <c:v>777</c:v>
                </c:pt>
                <c:pt idx="5">
                  <c:v>777X</c:v>
                </c:pt>
                <c:pt idx="6">
                  <c:v>787</c:v>
                </c:pt>
                <c:pt idx="7">
                  <c:v>TOTAL</c:v>
                </c:pt>
              </c:strCache>
            </c:strRef>
          </c:cat>
          <c:val>
            <c:numRef>
              <c:f>GRAPHIQUES!$C$46:$C$53</c:f>
              <c:numCache>
                <c:formatCode>General</c:formatCode>
                <c:ptCount val="8"/>
                <c:pt idx="0">
                  <c:v>-2</c:v>
                </c:pt>
                <c:pt idx="1">
                  <c:v>-369</c:v>
                </c:pt>
                <c:pt idx="2">
                  <c:v>-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-29</c:v>
                </c:pt>
                <c:pt idx="7">
                  <c:v>-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4-4669-8ED1-064EA11CEFD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1092172992"/>
        <c:axId val="1092172008"/>
      </c:barChart>
      <c:catAx>
        <c:axId val="10921729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1092172008"/>
        <c:crosses val="autoZero"/>
        <c:auto val="1"/>
        <c:lblAlgn val="ctr"/>
        <c:lblOffset val="100"/>
        <c:noMultiLvlLbl val="0"/>
      </c:catAx>
      <c:valAx>
        <c:axId val="109217200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09217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2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634095634095639E-2"/>
          <c:y val="3.7490987743330928E-2"/>
          <c:w val="0.86832986832986836"/>
          <c:h val="0.92501802451333814"/>
        </c:manualLayout>
      </c:layout>
      <c:barChart>
        <c:barDir val="bar"/>
        <c:grouping val="clustered"/>
        <c:varyColors val="0"/>
        <c:ser>
          <c:idx val="0"/>
          <c:order val="0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8.454608454608454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01B-416D-8EA9-414155A692A6}"/>
                </c:ext>
              </c:extLst>
            </c:dLbl>
            <c:dLbl>
              <c:idx val="1"/>
              <c:layout>
                <c:manualLayout>
                  <c:x val="0.4705474705474705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01B-416D-8EA9-414155A692A6}"/>
                </c:ext>
              </c:extLst>
            </c:dLbl>
            <c:dLbl>
              <c:idx val="2"/>
              <c:layout>
                <c:manualLayout>
                  <c:x val="2.425502425502425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01B-416D-8EA9-414155A692A6}"/>
                </c:ext>
              </c:extLst>
            </c:dLbl>
            <c:dLbl>
              <c:idx val="3"/>
              <c:layout>
                <c:manualLayout>
                  <c:x val="8.454608454608454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01B-416D-8EA9-414155A692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</c:v>
                </c:pt>
                <c:pt idx="1">
                  <c:v>41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1B-416D-8EA9-414155A692A6}"/>
            </c:ext>
          </c:extLst>
        </c:ser>
        <c:ser>
          <c:idx val="1"/>
          <c:order val="1"/>
          <c:spPr>
            <a:solidFill>
              <a:srgbClr val="44546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8.454608454608454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01B-416D-8EA9-414155A692A6}"/>
                </c:ext>
              </c:extLst>
            </c:dLbl>
            <c:dLbl>
              <c:idx val="1"/>
              <c:layout>
                <c:manualLayout>
                  <c:x val="0.4816354816354816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01B-416D-8EA9-414155A692A6}"/>
                </c:ext>
              </c:extLst>
            </c:dLbl>
            <c:dLbl>
              <c:idx val="3"/>
              <c:layout>
                <c:manualLayout>
                  <c:x val="8.454608454608454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01B-416D-8EA9-414155A692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5</c:v>
                </c:pt>
                <c:pt idx="1">
                  <c:v>42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01B-416D-8EA9-414155A692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12723552"/>
        <c:axId val="1"/>
      </c:barChart>
      <c:catAx>
        <c:axId val="1112723552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4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127235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036036036036036E-2"/>
          <c:y val="3.6061026352288486E-2"/>
          <c:w val="0.86832986832986836"/>
          <c:h val="0.92787794729542306"/>
        </c:manualLayout>
      </c:layout>
      <c:barChart>
        <c:barDir val="bar"/>
        <c:grouping val="clustered"/>
        <c:varyColors val="0"/>
        <c:ser>
          <c:idx val="0"/>
          <c:order val="0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0942480942480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DD6-476D-BD57-A57BB08536C5}"/>
                </c:ext>
              </c:extLst>
            </c:dLbl>
            <c:dLbl>
              <c:idx val="3"/>
              <c:layout>
                <c:manualLayout>
                  <c:x val="8.316008316008316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DD6-476D-BD57-A57BB08536C5}"/>
                </c:ext>
              </c:extLst>
            </c:dLbl>
            <c:dLbl>
              <c:idx val="5"/>
              <c:layout>
                <c:manualLayout>
                  <c:x val="0.160776160776160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DD6-476D-BD57-A57BB08536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7</c:v>
                </c:pt>
                <c:pt idx="1">
                  <c:v>0.5</c:v>
                </c:pt>
                <c:pt idx="2">
                  <c:v>3</c:v>
                </c:pt>
                <c:pt idx="3">
                  <c:v>2</c:v>
                </c:pt>
                <c:pt idx="4">
                  <c:v>0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DD6-476D-BD57-A57BB08536C5}"/>
            </c:ext>
          </c:extLst>
        </c:ser>
        <c:ser>
          <c:idx val="1"/>
          <c:order val="1"/>
          <c:spPr>
            <a:solidFill>
              <a:srgbClr val="44546A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DD6-476D-BD57-A57BB08536C5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DD6-476D-BD57-A57BB08536C5}"/>
              </c:ext>
            </c:extLst>
          </c:dPt>
          <c:dLbls>
            <c:dLbl>
              <c:idx val="0"/>
              <c:layout>
                <c:manualLayout>
                  <c:x val="0.480942480942480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DD6-476D-BD57-A57BB08536C5}"/>
                </c:ext>
              </c:extLst>
            </c:dLbl>
            <c:dLbl>
              <c:idx val="3"/>
              <c:layout>
                <c:manualLayout>
                  <c:x val="8.316008316008316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DD6-476D-BD57-A57BB08536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7</c:v>
                </c:pt>
                <c:pt idx="1">
                  <c:v>0.5</c:v>
                </c:pt>
                <c:pt idx="2">
                  <c:v>3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DD6-476D-BD57-A57BB08536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92118296"/>
        <c:axId val="1"/>
      </c:barChart>
      <c:catAx>
        <c:axId val="79211829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7921182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F240388-6464-4895-887B-B237F5325D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5B57CC-6F0C-46CE-BF3A-B9403BC1E3F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0CD56-397E-47D2-B48C-3A5E81C3739D}" type="datetimeFigureOut">
              <a:rPr lang="fr-FR" smtClean="0"/>
              <a:t>24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06D7634-2910-4F62-96B4-EB9254B4BA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3299A40-0835-44DD-8B29-CEAB9E3B04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965E39-BAE1-4D28-A36F-AAE1FA28C9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7192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FF5EBF-8145-475B-9597-E7E1FE5F1E58}" type="datetimeFigureOut">
              <a:rPr lang="fr-FR" smtClean="0"/>
              <a:t>24/09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E666B4-33A2-4D1C-9D02-4931444BF2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1704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561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E666B4-33A2-4D1C-9D02-4931444BF20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1763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7" cy="1260000"/>
          </a:xfrm>
          <a:prstGeom prst="rect">
            <a:avLst/>
          </a:prstGeom>
        </p:spPr>
      </p:pic>
      <p:grpSp>
        <p:nvGrpSpPr>
          <p:cNvPr id="51" name="Groupe 50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5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10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10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10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10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11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11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11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11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11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11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11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12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12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13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13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13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133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8688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5564287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7381156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09307394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11510256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720000" y="972102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886197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5330138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788648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2856038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8802443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5740791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859405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99783089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262580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23362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43963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381014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sp>
        <p:nvSpPr>
          <p:cNvPr id="16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20809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13" name="Groupe 12"/>
          <p:cNvGrpSpPr/>
          <p:nvPr/>
        </p:nvGrpSpPr>
        <p:grpSpPr>
          <a:xfrm>
            <a:off x="3362508" y="2559571"/>
            <a:ext cx="5466984" cy="900000"/>
            <a:chOff x="3580474" y="2559571"/>
            <a:chExt cx="4100238" cy="900000"/>
          </a:xfrm>
        </p:grpSpPr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0474" y="2559571"/>
              <a:ext cx="1983052" cy="900000"/>
            </a:xfrm>
            <a:prstGeom prst="rect">
              <a:avLst/>
            </a:prstGeom>
          </p:spPr>
        </p:pic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0712" y="2643635"/>
              <a:ext cx="1980000" cy="731871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32746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grpSp>
        <p:nvGrpSpPr>
          <p:cNvPr id="14" name="Groupe 13"/>
          <p:cNvGrpSpPr/>
          <p:nvPr/>
        </p:nvGrpSpPr>
        <p:grpSpPr>
          <a:xfrm>
            <a:off x="3362508" y="2559571"/>
            <a:ext cx="5466984" cy="900000"/>
            <a:chOff x="3580474" y="2559571"/>
            <a:chExt cx="4100238" cy="900000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0474" y="2559571"/>
              <a:ext cx="1983052" cy="900000"/>
            </a:xfrm>
            <a:prstGeom prst="rect">
              <a:avLst/>
            </a:prstGeom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0712" y="2643635"/>
              <a:ext cx="1980000" cy="731871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32345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grpSp>
        <p:nvGrpSpPr>
          <p:cNvPr id="12" name="Groupe 11"/>
          <p:cNvGrpSpPr/>
          <p:nvPr/>
        </p:nvGrpSpPr>
        <p:grpSpPr>
          <a:xfrm>
            <a:off x="3228040" y="2556656"/>
            <a:ext cx="5040376" cy="900000"/>
            <a:chOff x="2421030" y="2556656"/>
            <a:chExt cx="3780282" cy="900000"/>
          </a:xfrm>
        </p:grpSpPr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1030" y="2556656"/>
              <a:ext cx="1983050" cy="900000"/>
            </a:xfrm>
            <a:prstGeom prst="rect">
              <a:avLst/>
            </a:prstGeom>
          </p:spPr>
        </p:pic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07151" y="2556656"/>
              <a:ext cx="1594161" cy="881770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015152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16" name="Groupe 15"/>
          <p:cNvGrpSpPr/>
          <p:nvPr/>
        </p:nvGrpSpPr>
        <p:grpSpPr>
          <a:xfrm>
            <a:off x="3228040" y="2556656"/>
            <a:ext cx="5040376" cy="900000"/>
            <a:chOff x="2421030" y="2556656"/>
            <a:chExt cx="3780282" cy="900000"/>
          </a:xfrm>
        </p:grpSpPr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1030" y="2556656"/>
              <a:ext cx="1983050" cy="900000"/>
            </a:xfrm>
            <a:prstGeom prst="rect">
              <a:avLst/>
            </a:prstGeom>
          </p:spPr>
        </p:pic>
        <p:pic>
          <p:nvPicPr>
            <p:cNvPr id="18" name="Image 1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07151" y="2556656"/>
              <a:ext cx="1594161" cy="881770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432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296439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6488027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_USER_LAYOUT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14B2974B-E0D1-4147-81B9-1E7428B8B1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53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14B2974B-E0D1-4147-81B9-1E7428B8B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6D3BA-57F2-4D42-81EE-81AD931330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94422CB1-7BB3-4466-90D4-DB18383BEC2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F4EB3FB-D647-40B8-AA8F-1FB63E0927D6}"/>
              </a:ext>
            </a:extLst>
          </p:cNvPr>
          <p:cNvCxnSpPr/>
          <p:nvPr userDrawn="1"/>
        </p:nvCxnSpPr>
        <p:spPr bwMode="gray">
          <a:xfrm>
            <a:off x="720000" y="88724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45AE510-8A8E-498B-85E8-6B8737316B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C7BF123-7212-46C1-8A11-D535586F733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96E3679-0E43-4B70-BF4D-1F4AD3DC09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13666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3302820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16617235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26214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9160822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774194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7" cy="1260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5088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47796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78890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4"/>
            <a:ext cx="2567124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43588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4"/>
            <a:ext cx="2567124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67584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3"/>
            <a:ext cx="2567124" cy="792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0508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3"/>
            <a:ext cx="2567124" cy="792000"/>
          </a:xfrm>
          <a:prstGeom prst="rect">
            <a:avLst/>
          </a:prstGeom>
        </p:spPr>
      </p:pic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28881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8" y="2206800"/>
            <a:ext cx="4084067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7586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8" y="2206800"/>
            <a:ext cx="4084067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063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9" y="2206800"/>
            <a:ext cx="4084068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95515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9" y="2206800"/>
            <a:ext cx="4084068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259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8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26109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9017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F2AA1F-DED7-450C-9764-41F0A8555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C3AFB3B-8302-46D1-9911-E790A345F8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EA88D6C-E4E2-4BD5-9564-C4D52D5D5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B0B37DE-BC0E-4CC4-88AC-2E0085B9F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1A91DDF-0D72-49DC-888B-0989913A5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19202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grpSp>
        <p:nvGrpSpPr>
          <p:cNvPr id="56" name="Groupe 55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7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8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4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5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6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7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8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9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0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1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2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5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6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7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8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1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2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3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4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7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60986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8992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6"/>
            <a:ext cx="2644067" cy="899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74745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6"/>
            <a:ext cx="2644067" cy="899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16202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4749666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3331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02242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2053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53" name="Picture 140">
            <a:extLst>
              <a:ext uri="{FF2B5EF4-FFF2-40B4-BE49-F238E27FC236}">
                <a16:creationId xmlns:a16="http://schemas.microsoft.com/office/drawing/2014/main" id="{89C50E65-71C2-4092-B817-9ADBA8AF5F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17585" y="455899"/>
            <a:ext cx="3485755" cy="1433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6098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0833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2093474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2231599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73197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1048610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236E6DC2-9AA3-4865-86FB-F32D85B3DE54}"/>
              </a:ext>
            </a:extLst>
          </p:cNvPr>
          <p:cNvCxnSpPr/>
          <p:nvPr userDrawn="1"/>
        </p:nvCxnSpPr>
        <p:spPr bwMode="gray">
          <a:xfrm>
            <a:off x="720000" y="901528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6551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9553553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4547416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487518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4257655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1846723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687106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461116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056776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2"/>
            <a:ext cx="1903728" cy="648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23238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2"/>
            <a:ext cx="1903728" cy="648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13777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3"/>
            <a:ext cx="1903728" cy="647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0353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3"/>
            <a:ext cx="1903728" cy="647999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3429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6" y="2559571"/>
            <a:ext cx="2644069" cy="900000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85395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6" y="2559571"/>
            <a:ext cx="2644069" cy="900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56184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7" y="2559571"/>
            <a:ext cx="2644067" cy="900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223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99457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7" y="2559571"/>
            <a:ext cx="2644067" cy="900000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10211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483" y="1251807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04282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483" y="1251807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68400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001" y="1035062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99267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001" y="1035062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3473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2614201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5664" y="6317296"/>
            <a:ext cx="1625227" cy="450551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08690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5664" y="6317296"/>
            <a:ext cx="1625227" cy="450551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11885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3545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478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95511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9897287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41735553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092819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146413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720000" y="972102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53594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2192816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050561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783553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3447290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872776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170676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3843414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4344833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4" y="5803168"/>
            <a:ext cx="1726977" cy="5328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116" y="5920765"/>
            <a:ext cx="2259555" cy="6264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42216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4" y="5803168"/>
            <a:ext cx="1726977" cy="5328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116" y="5920765"/>
            <a:ext cx="2259555" cy="6264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8429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3" y="5803168"/>
            <a:ext cx="1726976" cy="5328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129" y="5803168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78876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3" y="5803168"/>
            <a:ext cx="1726976" cy="5328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129" y="5803168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0899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00" y="2958685"/>
            <a:ext cx="2640000" cy="731869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897968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00" y="2958685"/>
            <a:ext cx="2640000" cy="731869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58974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581" y="2293640"/>
            <a:ext cx="2736839" cy="113536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5757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581" y="2293640"/>
            <a:ext cx="2736839" cy="113536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5716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476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71603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810169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2543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32642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6581978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37934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8585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8039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40059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194002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oleObject" Target="../embeddings/oleObject3.bin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theme" Target="../theme/theme2.xml"/><Relationship Id="rId35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image" Target="../media/image10.png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tags" Target="../tags/tag7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theme" Target="../theme/theme3.xml"/><Relationship Id="rId35" Type="http://schemas.openxmlformats.org/officeDocument/2006/relationships/image" Target="../media/image11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34" Type="http://schemas.openxmlformats.org/officeDocument/2006/relationships/image" Target="../media/image10.png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oleObject" Target="../embeddings/oleObject5.bin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theme" Target="../theme/theme4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8C96408-AA1F-4A71-B776-9DB8FF88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60550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4" imgW="344" imgH="344" progId="TCLayout.ActiveDocument.1">
                  <p:embed/>
                </p:oleObj>
              </mc:Choice>
              <mc:Fallback>
                <p:oleObj name="Diapositive think-cell" r:id="rId34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8C96408-AA1F-4A71-B776-9DB8FF88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347411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347411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53" name="Picture 140">
            <a:extLst>
              <a:ext uri="{FF2B5EF4-FFF2-40B4-BE49-F238E27FC236}">
                <a16:creationId xmlns:a16="http://schemas.microsoft.com/office/drawing/2014/main" id="{61D7638A-5653-41B7-AD32-384DA589B451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55383" y="6495075"/>
            <a:ext cx="681880" cy="28049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08" r:id="rId3"/>
    <p:sldLayoutId id="2147483852" r:id="rId4"/>
    <p:sldLayoutId id="2147483825" r:id="rId5"/>
    <p:sldLayoutId id="2147483840" r:id="rId6"/>
    <p:sldLayoutId id="2147483841" r:id="rId7"/>
    <p:sldLayoutId id="2147483839" r:id="rId8"/>
    <p:sldLayoutId id="2147483853" r:id="rId9"/>
    <p:sldLayoutId id="2147483849" r:id="rId10"/>
    <p:sldLayoutId id="2147483820" r:id="rId11"/>
    <p:sldLayoutId id="2147483850" r:id="rId12"/>
    <p:sldLayoutId id="2147483851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3" r:id="rId19"/>
    <p:sldLayoutId id="2147483842" r:id="rId20"/>
    <p:sldLayoutId id="2147483832" r:id="rId21"/>
    <p:sldLayoutId id="2147483843" r:id="rId22"/>
    <p:sldLayoutId id="2147483822" r:id="rId23"/>
    <p:sldLayoutId id="2147483821" r:id="rId24"/>
    <p:sldLayoutId id="2147483854" r:id="rId25"/>
    <p:sldLayoutId id="2147483846" r:id="rId26"/>
    <p:sldLayoutId id="2147483824" r:id="rId27"/>
    <p:sldLayoutId id="2147483823" r:id="rId28"/>
    <p:sldLayoutId id="2147483855" r:id="rId29"/>
    <p:sldLayoutId id="2147483949" r:id="rId30"/>
    <p:sldLayoutId id="2147483950" r:id="rId3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7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6BFA135A-9966-4F2A-92AF-9F8F667FDB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85707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2" imgW="344" imgH="344" progId="TCLayout.ActiveDocument.1">
                  <p:embed/>
                </p:oleObj>
              </mc:Choice>
              <mc:Fallback>
                <p:oleObj name="Diapositive think-cell" r:id="rId32" imgW="344" imgH="344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6BFA135A-9966-4F2A-92AF-9F8F667FD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98" name="Picture 140">
            <a:extLst>
              <a:ext uri="{FF2B5EF4-FFF2-40B4-BE49-F238E27FC236}">
                <a16:creationId xmlns:a16="http://schemas.microsoft.com/office/drawing/2014/main" id="{F8D7C6C5-DAB5-4A3D-A939-183A709FA721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55383" y="6495075"/>
            <a:ext cx="681880" cy="280495"/>
          </a:xfrm>
          <a:prstGeom prst="rect">
            <a:avLst/>
          </a:prstGeom>
        </p:spPr>
      </p:pic>
      <p:sp>
        <p:nvSpPr>
          <p:cNvPr id="99" name="Espace réservé du pied de page 4">
            <a:extLst>
              <a:ext uri="{FF2B5EF4-FFF2-40B4-BE49-F238E27FC236}">
                <a16:creationId xmlns:a16="http://schemas.microsoft.com/office/drawing/2014/main" id="{851EAC84-394F-4225-9173-4CC68E7DF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49451" y="6347411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00" name="Espace réservé du numéro de diapositive 5">
            <a:extLst>
              <a:ext uri="{FF2B5EF4-FFF2-40B4-BE49-F238E27FC236}">
                <a16:creationId xmlns:a16="http://schemas.microsoft.com/office/drawing/2014/main" id="{3E69FC1C-1654-435F-969A-639AE88745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347411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005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  <p:sldLayoutId id="2147483880" r:id="rId23"/>
    <p:sldLayoutId id="2147483881" r:id="rId24"/>
    <p:sldLayoutId id="2147483882" r:id="rId25"/>
    <p:sldLayoutId id="2147483883" r:id="rId26"/>
    <p:sldLayoutId id="2147483884" r:id="rId27"/>
    <p:sldLayoutId id="2147483885" r:id="rId28"/>
    <p:sldLayoutId id="2147483886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5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F6D765A3-AC8B-4DB5-A9F1-B6BDBCEA75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24239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2" imgW="344" imgH="344" progId="TCLayout.ActiveDocument.1">
                  <p:embed/>
                </p:oleObj>
              </mc:Choice>
              <mc:Fallback>
                <p:oleObj name="Diapositive think-cell" r:id="rId32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F6D765A3-AC8B-4DB5-A9F1-B6BDBCEA7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192682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192682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69" y="6201308"/>
            <a:ext cx="1342648" cy="432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7512" y="6286578"/>
            <a:ext cx="1206033" cy="500314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183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6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9F9404E-96A7-41EB-B5EE-8090723F8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738845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2" imgW="344" imgH="344" progId="TCLayout.ActiveDocument.1">
                  <p:embed/>
                </p:oleObj>
              </mc:Choice>
              <mc:Fallback>
                <p:oleObj name="Diapositive think-cell" r:id="rId32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9F9404E-96A7-41EB-B5EE-8090723F8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192682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192682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69" y="6201308"/>
            <a:ext cx="1342648" cy="432000"/>
          </a:xfrm>
          <a:prstGeom prst="rect">
            <a:avLst/>
          </a:prstGeom>
        </p:spPr>
      </p:pic>
      <p:grpSp>
        <p:nvGrpSpPr>
          <p:cNvPr id="52" name="Groupe 5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8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3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403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  <p:sldLayoutId id="2147483940" r:id="rId21"/>
    <p:sldLayoutId id="2147483941" r:id="rId22"/>
    <p:sldLayoutId id="2147483942" r:id="rId23"/>
    <p:sldLayoutId id="2147483943" r:id="rId24"/>
    <p:sldLayoutId id="2147483944" r:id="rId25"/>
    <p:sldLayoutId id="2147483945" r:id="rId26"/>
    <p:sldLayoutId id="2147483946" r:id="rId27"/>
    <p:sldLayoutId id="2147483947" r:id="rId28"/>
    <p:sldLayoutId id="2147483948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5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slideLayout" Target="../slideLayouts/slideLayout14.xml"/><Relationship Id="rId7" Type="http://schemas.openxmlformats.org/officeDocument/2006/relationships/package" Target="../embeddings/Microsoft_Excel_Worksheet9.xlsx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4.png"/><Relationship Id="rId12" Type="http://schemas.openxmlformats.org/officeDocument/2006/relationships/image" Target="../media/image20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5.png"/><Relationship Id="rId11" Type="http://schemas.openxmlformats.org/officeDocument/2006/relationships/image" Target="../media/image19.png"/><Relationship Id="rId5" Type="http://schemas.openxmlformats.org/officeDocument/2006/relationships/image" Target="../media/image13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0.xml"/><Relationship Id="rId21" Type="http://schemas.openxmlformats.org/officeDocument/2006/relationships/tags" Target="../tags/tag35.xml"/><Relationship Id="rId42" Type="http://schemas.openxmlformats.org/officeDocument/2006/relationships/tags" Target="../tags/tag56.xml"/><Relationship Id="rId47" Type="http://schemas.openxmlformats.org/officeDocument/2006/relationships/tags" Target="../tags/tag61.xml"/><Relationship Id="rId63" Type="http://schemas.openxmlformats.org/officeDocument/2006/relationships/tags" Target="../tags/tag77.xml"/><Relationship Id="rId68" Type="http://schemas.openxmlformats.org/officeDocument/2006/relationships/tags" Target="../tags/tag82.xml"/><Relationship Id="rId84" Type="http://schemas.openxmlformats.org/officeDocument/2006/relationships/tags" Target="../tags/tag98.xml"/><Relationship Id="rId89" Type="http://schemas.openxmlformats.org/officeDocument/2006/relationships/tags" Target="../tags/tag103.xml"/><Relationship Id="rId7" Type="http://schemas.openxmlformats.org/officeDocument/2006/relationships/tags" Target="../tags/tag21.xml"/><Relationship Id="rId71" Type="http://schemas.openxmlformats.org/officeDocument/2006/relationships/tags" Target="../tags/tag85.xml"/><Relationship Id="rId92" Type="http://schemas.openxmlformats.org/officeDocument/2006/relationships/notesSlide" Target="../notesSlides/notesSlide1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9" Type="http://schemas.openxmlformats.org/officeDocument/2006/relationships/tags" Target="../tags/tag43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tags" Target="../tags/tag54.xml"/><Relationship Id="rId45" Type="http://schemas.openxmlformats.org/officeDocument/2006/relationships/tags" Target="../tags/tag59.xml"/><Relationship Id="rId53" Type="http://schemas.openxmlformats.org/officeDocument/2006/relationships/tags" Target="../tags/tag67.xml"/><Relationship Id="rId58" Type="http://schemas.openxmlformats.org/officeDocument/2006/relationships/tags" Target="../tags/tag72.xml"/><Relationship Id="rId66" Type="http://schemas.openxmlformats.org/officeDocument/2006/relationships/tags" Target="../tags/tag80.xml"/><Relationship Id="rId74" Type="http://schemas.openxmlformats.org/officeDocument/2006/relationships/tags" Target="../tags/tag88.xml"/><Relationship Id="rId79" Type="http://schemas.openxmlformats.org/officeDocument/2006/relationships/tags" Target="../tags/tag93.xml"/><Relationship Id="rId87" Type="http://schemas.openxmlformats.org/officeDocument/2006/relationships/tags" Target="../tags/tag101.xml"/><Relationship Id="rId102" Type="http://schemas.openxmlformats.org/officeDocument/2006/relationships/chart" Target="../charts/chart3.xml"/><Relationship Id="rId5" Type="http://schemas.openxmlformats.org/officeDocument/2006/relationships/tags" Target="../tags/tag19.xml"/><Relationship Id="rId61" Type="http://schemas.openxmlformats.org/officeDocument/2006/relationships/tags" Target="../tags/tag75.xml"/><Relationship Id="rId82" Type="http://schemas.openxmlformats.org/officeDocument/2006/relationships/tags" Target="../tags/tag96.xml"/><Relationship Id="rId90" Type="http://schemas.openxmlformats.org/officeDocument/2006/relationships/tags" Target="../tags/tag104.xml"/><Relationship Id="rId95" Type="http://schemas.openxmlformats.org/officeDocument/2006/relationships/image" Target="../media/image15.png"/><Relationship Id="rId19" Type="http://schemas.openxmlformats.org/officeDocument/2006/relationships/tags" Target="../tags/tag3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tags" Target="../tags/tag57.xml"/><Relationship Id="rId48" Type="http://schemas.openxmlformats.org/officeDocument/2006/relationships/tags" Target="../tags/tag62.xml"/><Relationship Id="rId56" Type="http://schemas.openxmlformats.org/officeDocument/2006/relationships/tags" Target="../tags/tag70.xml"/><Relationship Id="rId64" Type="http://schemas.openxmlformats.org/officeDocument/2006/relationships/tags" Target="../tags/tag78.xml"/><Relationship Id="rId69" Type="http://schemas.openxmlformats.org/officeDocument/2006/relationships/tags" Target="../tags/tag83.xml"/><Relationship Id="rId77" Type="http://schemas.openxmlformats.org/officeDocument/2006/relationships/tags" Target="../tags/tag91.xml"/><Relationship Id="rId100" Type="http://schemas.openxmlformats.org/officeDocument/2006/relationships/image" Target="../media/image3.png"/><Relationship Id="rId105" Type="http://schemas.openxmlformats.org/officeDocument/2006/relationships/chart" Target="../charts/chart6.xml"/><Relationship Id="rId8" Type="http://schemas.openxmlformats.org/officeDocument/2006/relationships/tags" Target="../tags/tag22.xml"/><Relationship Id="rId51" Type="http://schemas.openxmlformats.org/officeDocument/2006/relationships/tags" Target="../tags/tag65.xml"/><Relationship Id="rId72" Type="http://schemas.openxmlformats.org/officeDocument/2006/relationships/tags" Target="../tags/tag86.xml"/><Relationship Id="rId80" Type="http://schemas.openxmlformats.org/officeDocument/2006/relationships/tags" Target="../tags/tag94.xml"/><Relationship Id="rId85" Type="http://schemas.openxmlformats.org/officeDocument/2006/relationships/tags" Target="../tags/tag99.xml"/><Relationship Id="rId93" Type="http://schemas.openxmlformats.org/officeDocument/2006/relationships/oleObject" Target="../embeddings/oleObject9.bin"/><Relationship Id="rId98" Type="http://schemas.openxmlformats.org/officeDocument/2006/relationships/image" Target="../media/image14.png"/><Relationship Id="rId3" Type="http://schemas.openxmlformats.org/officeDocument/2006/relationships/tags" Target="../tags/tag17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46" Type="http://schemas.openxmlformats.org/officeDocument/2006/relationships/tags" Target="../tags/tag60.xml"/><Relationship Id="rId59" Type="http://schemas.openxmlformats.org/officeDocument/2006/relationships/tags" Target="../tags/tag73.xml"/><Relationship Id="rId67" Type="http://schemas.openxmlformats.org/officeDocument/2006/relationships/tags" Target="../tags/tag81.xml"/><Relationship Id="rId103" Type="http://schemas.openxmlformats.org/officeDocument/2006/relationships/chart" Target="../charts/chart4.xml"/><Relationship Id="rId20" Type="http://schemas.openxmlformats.org/officeDocument/2006/relationships/tags" Target="../tags/tag34.xml"/><Relationship Id="rId41" Type="http://schemas.openxmlformats.org/officeDocument/2006/relationships/tags" Target="../tags/tag55.xml"/><Relationship Id="rId54" Type="http://schemas.openxmlformats.org/officeDocument/2006/relationships/tags" Target="../tags/tag68.xml"/><Relationship Id="rId62" Type="http://schemas.openxmlformats.org/officeDocument/2006/relationships/tags" Target="../tags/tag76.xml"/><Relationship Id="rId70" Type="http://schemas.openxmlformats.org/officeDocument/2006/relationships/tags" Target="../tags/tag84.xml"/><Relationship Id="rId75" Type="http://schemas.openxmlformats.org/officeDocument/2006/relationships/tags" Target="../tags/tag89.xml"/><Relationship Id="rId83" Type="http://schemas.openxmlformats.org/officeDocument/2006/relationships/tags" Target="../tags/tag97.xml"/><Relationship Id="rId88" Type="http://schemas.openxmlformats.org/officeDocument/2006/relationships/tags" Target="../tags/tag102.xml"/><Relationship Id="rId91" Type="http://schemas.openxmlformats.org/officeDocument/2006/relationships/slideLayout" Target="../slideLayouts/slideLayout14.xml"/><Relationship Id="rId96" Type="http://schemas.openxmlformats.org/officeDocument/2006/relationships/image" Target="../media/image22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49" Type="http://schemas.openxmlformats.org/officeDocument/2006/relationships/tags" Target="../tags/tag63.xml"/><Relationship Id="rId57" Type="http://schemas.openxmlformats.org/officeDocument/2006/relationships/tags" Target="../tags/tag71.xml"/><Relationship Id="rId10" Type="http://schemas.openxmlformats.org/officeDocument/2006/relationships/tags" Target="../tags/tag24.xml"/><Relationship Id="rId31" Type="http://schemas.openxmlformats.org/officeDocument/2006/relationships/tags" Target="../tags/tag45.xml"/><Relationship Id="rId44" Type="http://schemas.openxmlformats.org/officeDocument/2006/relationships/tags" Target="../tags/tag58.xml"/><Relationship Id="rId52" Type="http://schemas.openxmlformats.org/officeDocument/2006/relationships/tags" Target="../tags/tag66.xml"/><Relationship Id="rId60" Type="http://schemas.openxmlformats.org/officeDocument/2006/relationships/tags" Target="../tags/tag74.xml"/><Relationship Id="rId65" Type="http://schemas.openxmlformats.org/officeDocument/2006/relationships/tags" Target="../tags/tag79.xml"/><Relationship Id="rId73" Type="http://schemas.openxmlformats.org/officeDocument/2006/relationships/tags" Target="../tags/tag87.xml"/><Relationship Id="rId78" Type="http://schemas.openxmlformats.org/officeDocument/2006/relationships/tags" Target="../tags/tag92.xml"/><Relationship Id="rId81" Type="http://schemas.openxmlformats.org/officeDocument/2006/relationships/tags" Target="../tags/tag95.xml"/><Relationship Id="rId86" Type="http://schemas.openxmlformats.org/officeDocument/2006/relationships/tags" Target="../tags/tag100.xml"/><Relationship Id="rId94" Type="http://schemas.openxmlformats.org/officeDocument/2006/relationships/image" Target="../media/image1.emf"/><Relationship Id="rId99" Type="http://schemas.openxmlformats.org/officeDocument/2006/relationships/chart" Target="../charts/chart1.xml"/><Relationship Id="rId101" Type="http://schemas.openxmlformats.org/officeDocument/2006/relationships/chart" Target="../charts/chart2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9" Type="http://schemas.openxmlformats.org/officeDocument/2006/relationships/tags" Target="../tags/tag53.xml"/><Relationship Id="rId34" Type="http://schemas.openxmlformats.org/officeDocument/2006/relationships/tags" Target="../tags/tag48.xml"/><Relationship Id="rId50" Type="http://schemas.openxmlformats.org/officeDocument/2006/relationships/tags" Target="../tags/tag64.xml"/><Relationship Id="rId55" Type="http://schemas.openxmlformats.org/officeDocument/2006/relationships/tags" Target="../tags/tag69.xml"/><Relationship Id="rId76" Type="http://schemas.openxmlformats.org/officeDocument/2006/relationships/tags" Target="../tags/tag90.xml"/><Relationship Id="rId97" Type="http://schemas.openxmlformats.org/officeDocument/2006/relationships/image" Target="../media/image23.png"/><Relationship Id="rId104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26" Type="http://schemas.openxmlformats.org/officeDocument/2006/relationships/tags" Target="../tags/tag130.xml"/><Relationship Id="rId3" Type="http://schemas.openxmlformats.org/officeDocument/2006/relationships/tags" Target="../tags/tag107.xml"/><Relationship Id="rId21" Type="http://schemas.openxmlformats.org/officeDocument/2006/relationships/tags" Target="../tags/tag125.xml"/><Relationship Id="rId34" Type="http://schemas.openxmlformats.org/officeDocument/2006/relationships/image" Target="../media/image3.png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tags" Target="../tags/tag129.xml"/><Relationship Id="rId33" Type="http://schemas.openxmlformats.org/officeDocument/2006/relationships/chart" Target="../charts/chart7.xml"/><Relationship Id="rId38" Type="http://schemas.openxmlformats.org/officeDocument/2006/relationships/image" Target="../media/image24.emf"/><Relationship Id="rId2" Type="http://schemas.openxmlformats.org/officeDocument/2006/relationships/tags" Target="../tags/tag106.xml"/><Relationship Id="rId16" Type="http://schemas.openxmlformats.org/officeDocument/2006/relationships/tags" Target="../tags/tag120.xml"/><Relationship Id="rId20" Type="http://schemas.openxmlformats.org/officeDocument/2006/relationships/tags" Target="../tags/tag124.xml"/><Relationship Id="rId29" Type="http://schemas.openxmlformats.org/officeDocument/2006/relationships/oleObject" Target="../embeddings/oleObject10.bin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24" Type="http://schemas.openxmlformats.org/officeDocument/2006/relationships/tags" Target="../tags/tag128.xml"/><Relationship Id="rId32" Type="http://schemas.openxmlformats.org/officeDocument/2006/relationships/image" Target="../media/image14.png"/><Relationship Id="rId37" Type="http://schemas.openxmlformats.org/officeDocument/2006/relationships/image" Target="../media/image23.png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23" Type="http://schemas.openxmlformats.org/officeDocument/2006/relationships/tags" Target="../tags/tag127.xml"/><Relationship Id="rId28" Type="http://schemas.openxmlformats.org/officeDocument/2006/relationships/notesSlide" Target="../notesSlides/notesSlide2.xml"/><Relationship Id="rId36" Type="http://schemas.openxmlformats.org/officeDocument/2006/relationships/image" Target="../media/image22.png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31" Type="http://schemas.openxmlformats.org/officeDocument/2006/relationships/image" Target="../media/image15.png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tags" Target="../tags/tag126.xml"/><Relationship Id="rId27" Type="http://schemas.openxmlformats.org/officeDocument/2006/relationships/slideLayout" Target="../slideLayouts/slideLayout14.xml"/><Relationship Id="rId30" Type="http://schemas.openxmlformats.org/officeDocument/2006/relationships/image" Target="../media/image1.emf"/><Relationship Id="rId35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tags" Target="../tags/tag133.xml"/><Relationship Id="rId7" Type="http://schemas.openxmlformats.org/officeDocument/2006/relationships/image" Target="../media/image14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slideLayout" Target="../slideLayouts/slideLayout14.xml"/><Relationship Id="rId7" Type="http://schemas.openxmlformats.org/officeDocument/2006/relationships/package" Target="../embeddings/Microsoft_Excel_Worksheet6.xlsx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7.emf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package" Target="../embeddings/Microsoft_Excel_Worksheet7.xlsx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slideLayout" Target="../slideLayouts/slideLayout14.xml"/><Relationship Id="rId7" Type="http://schemas.openxmlformats.org/officeDocument/2006/relationships/package" Target="../embeddings/Microsoft_Excel_Worksheet8.xlsx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D79D345A-F3AE-4DAD-A3B3-8A8997AFD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327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21" imgH="425" progId="TCLayout.ActiveDocument.1">
                  <p:embed/>
                </p:oleObj>
              </mc:Choice>
              <mc:Fallback>
                <p:oleObj name="Diapositive think-cell" r:id="rId4" imgW="421" imgH="425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D79D345A-F3AE-4DAD-A3B3-8A8997AFD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C45E36E-01C1-48AD-A35D-FC626F8109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ous-titre 1">
            <a:extLst>
              <a:ext uri="{FF2B5EF4-FFF2-40B4-BE49-F238E27FC236}">
                <a16:creationId xmlns:a16="http://schemas.microsoft.com/office/drawing/2014/main" id="{71155487-2948-4B79-B454-10A25402BA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999" y="4533790"/>
            <a:ext cx="7200000" cy="892681"/>
          </a:xfrm>
        </p:spPr>
        <p:txBody>
          <a:bodyPr/>
          <a:lstStyle/>
          <a:p>
            <a:pPr algn="ctr"/>
            <a:r>
              <a:rPr lang="fr-FR" sz="2000" dirty="0"/>
              <a:t>Août 2021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112CBE1-AED7-4441-AC37-62CEB63C5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FCAC40A-5772-409F-94C4-B07936A52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2D32FCD6-F0A9-418A-8BE5-F7A667BDE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8" y="2657915"/>
            <a:ext cx="7625715" cy="1512168"/>
          </a:xfrm>
        </p:spPr>
        <p:txBody>
          <a:bodyPr anchor="ctr"/>
          <a:lstStyle/>
          <a:p>
            <a:r>
              <a:rPr lang="fr-FR" dirty="0"/>
              <a:t>DASHBOARD MARCHE AERONAUTIQUE</a:t>
            </a:r>
          </a:p>
        </p:txBody>
      </p:sp>
      <p:pic>
        <p:nvPicPr>
          <p:cNvPr id="8" name="Image 31">
            <a:extLst>
              <a:ext uri="{FF2B5EF4-FFF2-40B4-BE49-F238E27FC236}">
                <a16:creationId xmlns:a16="http://schemas.microsoft.com/office/drawing/2014/main" id="{7E5578D3-3745-4D08-816C-5DE494E4CAA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4064539" y="3483807"/>
            <a:ext cx="936633" cy="936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641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CC955E23-F32A-40DC-941D-B43174DD60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22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CC955E23-F32A-40DC-941D-B43174DD6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C53F206-7E74-462B-9214-12AA6497D8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B77A387-E35E-4408-85E6-BA5689DA3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5 : Nb d’avions produits non-livré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B82CE22-E919-4C01-8F14-5DC2F5AF3D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FDC2EA-0859-4AB1-9FE8-460E154C4D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16" name="Image 31">
            <a:extLst>
              <a:ext uri="{FF2B5EF4-FFF2-40B4-BE49-F238E27FC236}">
                <a16:creationId xmlns:a16="http://schemas.microsoft.com/office/drawing/2014/main" id="{06FC6698-3CD9-45A0-A54C-AC72E019C99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2222CA5A-087A-4825-8DE1-CC0366CC0EF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7134321"/>
              </p:ext>
            </p:extLst>
          </p:nvPr>
        </p:nvGraphicFramePr>
        <p:xfrm>
          <a:off x="1722936" y="1588324"/>
          <a:ext cx="8362950" cy="400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8363079" imgH="4000500" progId="Excel.Sheet.12">
                  <p:embed/>
                </p:oleObj>
              </mc:Choice>
              <mc:Fallback>
                <p:oleObj name="Worksheet" r:id="rId7" imgW="8363079" imgH="4000500" progId="Excel.Sheet.12">
                  <p:embed/>
                  <p:pic>
                    <p:nvPicPr>
                      <p:cNvPr id="2" name="Objet 1">
                        <a:extLst>
                          <a:ext uri="{FF2B5EF4-FFF2-40B4-BE49-F238E27FC236}">
                            <a16:creationId xmlns:a16="http://schemas.microsoft.com/office/drawing/2014/main" id="{2222CA5A-087A-4825-8DE1-CC0366CC0E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22936" y="1588324"/>
                        <a:ext cx="8362950" cy="4000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0952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6D9AB6-E237-4C6E-821B-31F8C3ED70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5764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21" imgH="425" progId="TCLayout.ActiveDocument.1">
                  <p:embed/>
                </p:oleObj>
              </mc:Choice>
              <mc:Fallback>
                <p:oleObj name="Diapositive think-cell" r:id="rId4" imgW="421" imgH="425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6D9AB6-E237-4C6E-821B-31F8C3ED7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F602319-9FE6-468F-9C64-A3F51797A8E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23203ED-EC42-4EE3-B4A9-03B13C87B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cap="small" dirty="0"/>
              <a:t>Faits Marquants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CF6DB7C-9122-47F9-8DB5-454E26AF093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996FB57-2D99-4F2D-AB78-B70B35F5A5D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</a:t>
            </a:fld>
            <a:endParaRPr lang="fr-FR" dirty="0"/>
          </a:p>
        </p:txBody>
      </p:sp>
      <p:pic>
        <p:nvPicPr>
          <p:cNvPr id="15" name="Image 31">
            <a:extLst>
              <a:ext uri="{FF2B5EF4-FFF2-40B4-BE49-F238E27FC236}">
                <a16:creationId xmlns:a16="http://schemas.microsoft.com/office/drawing/2014/main" id="{E5BADAE8-4ADF-4B27-9178-4302935984E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77916895-3A80-4E39-8AA6-C061A20B913A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17A54928-8ADB-4B10-900E-B3726C991048}"/>
              </a:ext>
            </a:extLst>
          </p:cNvPr>
          <p:cNvSpPr txBox="1">
            <a:spLocks/>
          </p:cNvSpPr>
          <p:nvPr/>
        </p:nvSpPr>
        <p:spPr>
          <a:xfrm>
            <a:off x="6563999" y="1860292"/>
            <a:ext cx="4858426" cy="3460650"/>
          </a:xfrm>
          <a:prstGeom prst="rect">
            <a:avLst/>
          </a:prstGeom>
        </p:spPr>
        <p:txBody>
          <a:bodyPr/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Poursuite de l’augmentation du trafic aérien sur la période estivale</a:t>
            </a:r>
          </a:p>
          <a:p>
            <a:pPr marL="720725" lvl="3" indent="-96838">
              <a:spcBef>
                <a:spcPts val="400"/>
              </a:spcBef>
              <a:buClr>
                <a:srgbClr val="FA6414"/>
              </a:buClr>
              <a:buSzTx/>
              <a:buFont typeface="Arial" pitchFamily="34" charset="0"/>
              <a:buChar char="›"/>
            </a:pPr>
            <a:r>
              <a:rPr lang="fr-CA" sz="1200" dirty="0">
                <a:latin typeface="Calibri" panose="020F0502020204030204" pitchFamily="34" charset="0"/>
                <a:cs typeface="Calibri" panose="020F0502020204030204" pitchFamily="34" charset="0"/>
              </a:rPr>
              <a:t>augmentation significative en Europe, dépassant les prévisions d’Eurocontrol. U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ne montée graduelle est prévue à fin décembre, atteignant 79% (RPK) du niveau 2019.</a:t>
            </a:r>
            <a:endParaRPr lang="fr-CA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20725" lvl="3" indent="-96838">
              <a:spcBef>
                <a:spcPts val="400"/>
              </a:spcBef>
              <a:buClr>
                <a:srgbClr val="FA6414"/>
              </a:buClr>
              <a:buSzTx/>
              <a:buFont typeface="Arial" pitchFamily="34" charset="0"/>
              <a:buChar char="›"/>
            </a:pPr>
            <a:r>
              <a:rPr lang="fr-CA" sz="1200" dirty="0">
                <a:latin typeface="Calibri" panose="020F0502020204030204" pitchFamily="34" charset="0"/>
                <a:cs typeface="Calibri" panose="020F0502020204030204" pitchFamily="34" charset="0"/>
              </a:rPr>
              <a:t>L’Asie marque le pas suite à la résurgence du virus</a:t>
            </a:r>
          </a:p>
          <a:p>
            <a:pPr marL="720725" lvl="3" indent="-96838">
              <a:spcBef>
                <a:spcPts val="400"/>
              </a:spcBef>
              <a:buClr>
                <a:srgbClr val="FA6414"/>
              </a:buClr>
              <a:buSzTx/>
              <a:buFont typeface="Arial" pitchFamily="34" charset="0"/>
              <a:buChar char="›"/>
            </a:pPr>
            <a:r>
              <a:rPr lang="fr-CA" sz="1200" dirty="0">
                <a:latin typeface="Calibri" panose="020F0502020204030204" pitchFamily="34" charset="0"/>
                <a:cs typeface="Calibri" panose="020F0502020204030204" pitchFamily="34" charset="0"/>
              </a:rPr>
              <a:t>25% de la flotte est toujours à l’arrêt</a:t>
            </a:r>
          </a:p>
          <a:p>
            <a:pPr marL="720725" lvl="3" indent="-96838">
              <a:spcBef>
                <a:spcPts val="400"/>
              </a:spcBef>
              <a:buClr>
                <a:srgbClr val="FA6414"/>
              </a:buClr>
              <a:buSzTx/>
              <a:buFont typeface="Arial" pitchFamily="34" charset="0"/>
              <a:buChar char="›"/>
            </a:pPr>
            <a:endParaRPr lang="fr-CA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23887" lvl="3">
              <a:spcBef>
                <a:spcPts val="400"/>
              </a:spcBef>
              <a:buClr>
                <a:srgbClr val="FA6414"/>
              </a:buClr>
              <a:buSzTx/>
            </a:pPr>
            <a:endParaRPr lang="fr-CA" sz="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lvl="2" indent="-177800"/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Incertitudes sur la fin de l’année </a:t>
            </a:r>
            <a:r>
              <a:rPr lang="fr-FR" b="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 les réservations ne montrent aucune amélioration significative du trafic par rapport à 2019. Bien que la demande de voyages soit nettement plus forte que l'année dernière, les ventes restent à 42% des niveaux d'</a:t>
            </a:r>
            <a:r>
              <a:rPr lang="fr-FR" sz="1200" b="0" dirty="0" err="1">
                <a:latin typeface="Calibri" panose="020F0502020204030204" pitchFamily="34" charset="0"/>
                <a:cs typeface="Calibri" panose="020F0502020204030204" pitchFamily="34" charset="0"/>
              </a:rPr>
              <a:t>avant-crise</a:t>
            </a: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fr-FR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A68FD972-9CA0-4E04-A011-04EB94EF43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8333" y="952752"/>
            <a:ext cx="6038249" cy="5394659"/>
          </a:xfrm>
        </p:spPr>
        <p:txBody>
          <a:bodyPr lIns="0" tIns="0" rIns="0" bIns="0"/>
          <a:lstStyle/>
          <a:p>
            <a:pPr marL="0" lvl="2" indent="0" algn="just">
              <a:spcBef>
                <a:spcPts val="200"/>
              </a:spcBef>
              <a:buNone/>
            </a:pPr>
            <a:endParaRPr lang="fr-FR" sz="100" b="0" dirty="0">
              <a:solidFill>
                <a:srgbClr val="1A00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lvl="2" indent="0" algn="just">
              <a:spcBef>
                <a:spcPts val="200"/>
              </a:spcBef>
              <a:buNone/>
            </a:pPr>
            <a:r>
              <a:rPr lang="fr-FR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rbus</a:t>
            </a:r>
          </a:p>
          <a:p>
            <a:pPr marL="270000" marR="0" lvl="2" indent="-27000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Blip>
                <a:blip r:embed="rId7"/>
              </a:buBlip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uillaume 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aury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 manifesté lors d’une conférence son inquiétude sur de possibles difficultés de la chaîne d'approvisionnement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« nous craignons que la gestion de la chaîne d'approvisionnement soit pendant les 12 à 18 mois à venir l'aspect le plus difficile à gérer de ce que nous devons faire pour vraiment nous remettre (de la crise liée à la Covid-19) […] La chaîne d'approvisionnement est vraiment la clé de la reprise mondiale ».</a:t>
            </a:r>
            <a:endParaRPr lang="fr-FR" sz="900" cap="small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2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eing</a:t>
            </a:r>
          </a:p>
          <a:p>
            <a:pPr marL="270000" marR="0" lvl="2" indent="-27000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Blip>
                <a:blip r:embed="rId7"/>
              </a:buBlip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87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: 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s livraisons du B787 ne devraient pas reprendre avant au moins la fin octobre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Elles sont interrompues sur décision de la FAA depuis fin mai pour raison de défauts de qualité sur les structures. Au mois d’août, aucun 787 n’a été produit.</a:t>
            </a:r>
            <a:endParaRPr kumimoji="0" lang="fr-FR" sz="1000" b="1" i="0" u="none" strike="noStrike" kern="1200" cap="none" spc="0" normalizeH="0" baseline="0" noProof="0" dirty="0">
              <a:ln>
                <a:noFill/>
              </a:ln>
              <a:solidFill>
                <a:srgbClr val="FA641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3175" lvl="1" algn="just">
              <a:spcBef>
                <a:spcPts val="2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ac</a:t>
            </a:r>
          </a:p>
          <a:p>
            <a:pPr lvl="2" algn="just">
              <a:spcBef>
                <a:spcPts val="200"/>
              </a:spcBef>
            </a:pP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919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:China </a:t>
            </a:r>
            <a:r>
              <a:rPr lang="fr-FR" sz="1200" b="0" dirty="0" err="1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stern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irlines, compagnie de lancement du programme prévoit de prendre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vraison du 1er Comac C919 au 2ème semestre de cette année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La compagnie chinoise doit en  réceptionner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en 2022 et encore 2 en 2023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 </a:t>
            </a:r>
          </a:p>
          <a:p>
            <a:pPr lvl="2" algn="just">
              <a:spcBef>
                <a:spcPts val="200"/>
              </a:spcBef>
            </a:pP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929 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il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rrait effectuer son 1er vol en 2025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omac et UAC seraient parvenus à un accord sur la conception détaillée et engageraient la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ruction du 1er exemplaire en 2022. La production série débuterait en 2028.</a:t>
            </a:r>
          </a:p>
          <a:p>
            <a:pPr marL="3175" lvl="1" algn="just">
              <a:spcBef>
                <a:spcPts val="2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braer</a:t>
            </a:r>
          </a:p>
          <a:p>
            <a:pPr lvl="2" algn="just">
              <a:spcBef>
                <a:spcPts val="200"/>
              </a:spcBef>
            </a:pP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braer a dévoilé un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t d’avion régional bi-turbopropulseur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70 à 90 sièges à l’architecture originale,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ec les moteurs placées à l’arrière du fuselage et un empennage en T, ainsi que des ailes basses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Le programme, que le constructeur pourrait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ncer en 2022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vise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e entrée en service en 2027 ou 2028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fr-FR" sz="900" b="0" dirty="0">
              <a:solidFill>
                <a:srgbClr val="1A00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2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geac Aero</a:t>
            </a:r>
          </a:p>
          <a:p>
            <a:pPr marL="270000" marR="0" lvl="2" indent="-27000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Blip>
                <a:blip r:embed="rId7"/>
              </a:buBlip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geac Aero annonce 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’entrée prochaine d’ACE Capital 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rtners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à son capital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ur une augmentation de capital de 35M€ + 10 M€ via des obligations à émettre. Ces opérations sont soumises à la réalisation de certaines conditions suspensives, notamment l’obtention par Figeac Aéro d’un accord avec ses créanciers sur le rééchelonnement de ses principaux financements. 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'actionnariat familial évolue de 75% à 53%. </a:t>
            </a:r>
            <a:endParaRPr lang="fr-FR" sz="140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200"/>
              </a:spcBef>
            </a:pPr>
            <a:endParaRPr lang="fr-FR" sz="1400" b="1" cap="small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B659271-D2B0-43A6-A615-868AB1F22A09}"/>
              </a:ext>
            </a:extLst>
          </p:cNvPr>
          <p:cNvSpPr txBox="1"/>
          <p:nvPr/>
        </p:nvSpPr>
        <p:spPr>
          <a:xfrm>
            <a:off x="6514424" y="1321436"/>
            <a:ext cx="49575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cap="small" dirty="0">
                <a:solidFill>
                  <a:schemeClr val="accent2"/>
                </a:solidFill>
              </a:rPr>
              <a:t>Trafic Aérien</a:t>
            </a:r>
          </a:p>
        </p:txBody>
      </p:sp>
    </p:spTree>
    <p:extLst>
      <p:ext uri="{BB962C8B-B14F-4D97-AF65-F5344CB8AC3E}">
        <p14:creationId xmlns:p14="http://schemas.microsoft.com/office/powerpoint/2010/main" val="37860292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t 30" hidden="1">
            <a:extLst>
              <a:ext uri="{FF2B5EF4-FFF2-40B4-BE49-F238E27FC236}">
                <a16:creationId xmlns:a16="http://schemas.microsoft.com/office/drawing/2014/main" id="{CF982A77-D6AC-4875-925C-A532A98C61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806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21" imgH="425" progId="TCLayout.ActiveDocument.1">
                  <p:embed/>
                </p:oleObj>
              </mc:Choice>
              <mc:Fallback>
                <p:oleObj name="Diapositive think-cell" r:id="rId4" imgW="421" imgH="425" progId="TCLayout.ActiveDocument.1">
                  <p:embed/>
                  <p:pic>
                    <p:nvPicPr>
                      <p:cNvPr id="31" name="Objet 30" hidden="1">
                        <a:extLst>
                          <a:ext uri="{FF2B5EF4-FFF2-40B4-BE49-F238E27FC236}">
                            <a16:creationId xmlns:a16="http://schemas.microsoft.com/office/drawing/2014/main" id="{CF982A77-D6AC-4875-925C-A532A98C6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5A28ABA-6C67-4EE2-A077-16F333614D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4" name="Image 103">
            <a:extLst>
              <a:ext uri="{FF2B5EF4-FFF2-40B4-BE49-F238E27FC236}">
                <a16:creationId xmlns:a16="http://schemas.microsoft.com/office/drawing/2014/main" id="{66215C4C-F251-4190-B785-4C69A17BD2ED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l="2155"/>
          <a:stretch/>
        </p:blipFill>
        <p:spPr>
          <a:xfrm>
            <a:off x="46149" y="996537"/>
            <a:ext cx="12024000" cy="5511800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CACBE0A4-49BF-44E3-8C80-6468118A5003}"/>
              </a:ext>
            </a:extLst>
          </p:cNvPr>
          <p:cNvSpPr/>
          <p:nvPr/>
        </p:nvSpPr>
        <p:spPr>
          <a:xfrm>
            <a:off x="198108" y="1315121"/>
            <a:ext cx="5875199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C23025C-ABF2-4F91-95FF-0E90933945D8}"/>
              </a:ext>
            </a:extLst>
          </p:cNvPr>
          <p:cNvSpPr/>
          <p:nvPr/>
        </p:nvSpPr>
        <p:spPr>
          <a:xfrm>
            <a:off x="200025" y="1029935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u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fic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bdomadair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b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 vol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mé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660FD56-7A4F-47E5-8616-21914FCCB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Dashboard Trafic Aérien Août 2021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10CC8E6-A477-4C1F-9258-1E84E759FB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0C2ECF1-C101-40BA-B4EF-F194AC4BE9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3</a:t>
            </a:fld>
            <a:endParaRPr lang="fr-FR" dirty="0"/>
          </a:p>
        </p:txBody>
      </p:sp>
      <p:pic>
        <p:nvPicPr>
          <p:cNvPr id="164" name="Image 31">
            <a:extLst>
              <a:ext uri="{FF2B5EF4-FFF2-40B4-BE49-F238E27FC236}">
                <a16:creationId xmlns:a16="http://schemas.microsoft.com/office/drawing/2014/main" id="{FFB04B5B-5CAF-4185-B796-63B230BDDF0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64" name="Ellipse 63">
            <a:extLst>
              <a:ext uri="{FF2B5EF4-FFF2-40B4-BE49-F238E27FC236}">
                <a16:creationId xmlns:a16="http://schemas.microsoft.com/office/drawing/2014/main" id="{9178FCED-3A7C-426B-AA98-4D270384ACFF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1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D246083-010F-4C9B-9CD8-31978639B100}"/>
              </a:ext>
            </a:extLst>
          </p:cNvPr>
          <p:cNvSpPr/>
          <p:nvPr/>
        </p:nvSpPr>
        <p:spPr>
          <a:xfrm>
            <a:off x="6178545" y="1305880"/>
            <a:ext cx="5875199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FBFF67A-440C-4BF4-909A-C9FBD29357D0}"/>
              </a:ext>
            </a:extLst>
          </p:cNvPr>
          <p:cNvSpPr/>
          <p:nvPr/>
        </p:nvSpPr>
        <p:spPr>
          <a:xfrm>
            <a:off x="6178546" y="1029935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u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fic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nsuel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KPK), YoY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33BE535-BEA1-47DF-9882-B02E4E1D9238}"/>
              </a:ext>
            </a:extLst>
          </p:cNvPr>
          <p:cNvSpPr txBox="1"/>
          <p:nvPr/>
        </p:nvSpPr>
        <p:spPr>
          <a:xfrm>
            <a:off x="5404131" y="3532429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</a:t>
            </a:r>
            <a:r>
              <a:rPr lang="fr-FR" sz="600" dirty="0" err="1">
                <a:solidFill>
                  <a:schemeClr val="tx2"/>
                </a:solidFill>
              </a:rPr>
              <a:t>Cirium</a:t>
            </a:r>
            <a:endParaRPr lang="fr-FR" sz="600" dirty="0">
              <a:solidFill>
                <a:schemeClr val="tx2"/>
              </a:solidFill>
            </a:endParaRPr>
          </a:p>
        </p:txBody>
      </p:sp>
      <p:sp>
        <p:nvSpPr>
          <p:cNvPr id="93" name="ZoneTexte 92">
            <a:extLst>
              <a:ext uri="{FF2B5EF4-FFF2-40B4-BE49-F238E27FC236}">
                <a16:creationId xmlns:a16="http://schemas.microsoft.com/office/drawing/2014/main" id="{5926F622-9C71-4197-AC8E-C94300BA25E0}"/>
              </a:ext>
            </a:extLst>
          </p:cNvPr>
          <p:cNvSpPr txBox="1"/>
          <p:nvPr/>
        </p:nvSpPr>
        <p:spPr>
          <a:xfrm>
            <a:off x="11450687" y="6256797"/>
            <a:ext cx="936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OAG</a:t>
            </a:r>
          </a:p>
        </p:txBody>
      </p:sp>
      <p:sp>
        <p:nvSpPr>
          <p:cNvPr id="290" name="Rectangle 289" hidden="1">
            <a:extLst>
              <a:ext uri="{FF2B5EF4-FFF2-40B4-BE49-F238E27FC236}">
                <a16:creationId xmlns:a16="http://schemas.microsoft.com/office/drawing/2014/main" id="{63663CCE-F698-4769-A5BD-BAF749BF3F4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9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5" name="ZoneTexte 294">
            <a:extLst>
              <a:ext uri="{FF2B5EF4-FFF2-40B4-BE49-F238E27FC236}">
                <a16:creationId xmlns:a16="http://schemas.microsoft.com/office/drawing/2014/main" id="{8CB4C2FD-367C-4879-8586-35DF1CE6DBB3}"/>
              </a:ext>
            </a:extLst>
          </p:cNvPr>
          <p:cNvSpPr txBox="1"/>
          <p:nvPr/>
        </p:nvSpPr>
        <p:spPr>
          <a:xfrm>
            <a:off x="6181068" y="1325228"/>
            <a:ext cx="2903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olution du trafic international (RPK) </a:t>
            </a:r>
            <a:r>
              <a:rPr lang="fr-FR" sz="9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Y</a:t>
            </a:r>
            <a:endParaRPr lang="fr-FR" sz="9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ZoneTexte 239">
            <a:extLst>
              <a:ext uri="{FF2B5EF4-FFF2-40B4-BE49-F238E27FC236}">
                <a16:creationId xmlns:a16="http://schemas.microsoft.com/office/drawing/2014/main" id="{4BFD82B9-2B97-400C-8DA4-4E07A801D006}"/>
              </a:ext>
            </a:extLst>
          </p:cNvPr>
          <p:cNvSpPr txBox="1"/>
          <p:nvPr/>
        </p:nvSpPr>
        <p:spPr>
          <a:xfrm>
            <a:off x="9214937" y="1325228"/>
            <a:ext cx="2903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olution du trafic domestique (RPK) </a:t>
            </a:r>
            <a:r>
              <a:rPr lang="fr-FR" sz="9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Y</a:t>
            </a:r>
            <a:endParaRPr lang="fr-FR" sz="9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41" name="Connecteur droit 240">
            <a:extLst>
              <a:ext uri="{FF2B5EF4-FFF2-40B4-BE49-F238E27FC236}">
                <a16:creationId xmlns:a16="http://schemas.microsoft.com/office/drawing/2014/main" id="{8D72865D-2B00-4738-A799-D04F074D05F0}"/>
              </a:ext>
            </a:extLst>
          </p:cNvPr>
          <p:cNvCxnSpPr/>
          <p:nvPr/>
        </p:nvCxnSpPr>
        <p:spPr>
          <a:xfrm flipV="1">
            <a:off x="6236114" y="1551906"/>
            <a:ext cx="2736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Connecteur droit 241">
            <a:extLst>
              <a:ext uri="{FF2B5EF4-FFF2-40B4-BE49-F238E27FC236}">
                <a16:creationId xmlns:a16="http://schemas.microsoft.com/office/drawing/2014/main" id="{53E0D234-6E24-49BC-A813-740A80CE002B}"/>
              </a:ext>
            </a:extLst>
          </p:cNvPr>
          <p:cNvCxnSpPr/>
          <p:nvPr/>
        </p:nvCxnSpPr>
        <p:spPr>
          <a:xfrm flipV="1">
            <a:off x="9266980" y="1551906"/>
            <a:ext cx="2736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ZoneTexte 252">
            <a:extLst>
              <a:ext uri="{FF2B5EF4-FFF2-40B4-BE49-F238E27FC236}">
                <a16:creationId xmlns:a16="http://schemas.microsoft.com/office/drawing/2014/main" id="{5B7BEAA7-762F-4520-BAD8-1384991C01A8}"/>
              </a:ext>
            </a:extLst>
          </p:cNvPr>
          <p:cNvSpPr txBox="1"/>
          <p:nvPr/>
        </p:nvSpPr>
        <p:spPr>
          <a:xfrm>
            <a:off x="5487539" y="6251042"/>
            <a:ext cx="936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OAG</a:t>
            </a: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id="{64114A14-DD21-4B7F-A7D8-A1E595EE094B}"/>
              </a:ext>
            </a:extLst>
          </p:cNvPr>
          <p:cNvSpPr txBox="1"/>
          <p:nvPr/>
        </p:nvSpPr>
        <p:spPr>
          <a:xfrm>
            <a:off x="11142272" y="3520162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IATA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6B65000-BE90-4DC0-B063-1E0C6DC8E64A}"/>
              </a:ext>
            </a:extLst>
          </p:cNvPr>
          <p:cNvSpPr/>
          <p:nvPr/>
        </p:nvSpPr>
        <p:spPr>
          <a:xfrm>
            <a:off x="198108" y="4071460"/>
            <a:ext cx="5875199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6037D18-8E6A-4999-B3CD-D6696E7C8D29}"/>
              </a:ext>
            </a:extLst>
          </p:cNvPr>
          <p:cNvSpPr/>
          <p:nvPr/>
        </p:nvSpPr>
        <p:spPr>
          <a:xfrm>
            <a:off x="6158637" y="4071460"/>
            <a:ext cx="5875199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109BD84-4ECE-41E7-A595-53FBB9E269E4}"/>
              </a:ext>
            </a:extLst>
          </p:cNvPr>
          <p:cNvSpPr/>
          <p:nvPr/>
        </p:nvSpPr>
        <p:spPr>
          <a:xfrm>
            <a:off x="216429" y="3798430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e la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bilisatio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 la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ott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érienn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DFFD46C-FFA4-47CB-9E16-BB7EFFAE0DEF}"/>
              </a:ext>
            </a:extLst>
          </p:cNvPr>
          <p:cNvSpPr/>
          <p:nvPr/>
        </p:nvSpPr>
        <p:spPr>
          <a:xfrm>
            <a:off x="6194950" y="3798430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iffres-clé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fic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érie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B96E697-17D2-428C-89B5-1B12F9EFABA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3BC337D-812C-4D36-A5D8-84FC533709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3552" y="1321378"/>
            <a:ext cx="4924309" cy="2362385"/>
          </a:xfrm>
          <a:prstGeom prst="rect">
            <a:avLst/>
          </a:prstGeom>
        </p:spPr>
      </p:pic>
      <p:sp>
        <p:nvSpPr>
          <p:cNvPr id="121" name="ZoneTexte 120">
            <a:extLst>
              <a:ext uri="{FF2B5EF4-FFF2-40B4-BE49-F238E27FC236}">
                <a16:creationId xmlns:a16="http://schemas.microsoft.com/office/drawing/2014/main" id="{CF6FD9A7-F4F8-4EAA-9723-23B26D03E5D6}"/>
              </a:ext>
            </a:extLst>
          </p:cNvPr>
          <p:cNvSpPr txBox="1"/>
          <p:nvPr/>
        </p:nvSpPr>
        <p:spPr>
          <a:xfrm>
            <a:off x="5404131" y="6279362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</a:t>
            </a:r>
            <a:r>
              <a:rPr lang="fr-FR" sz="600" dirty="0" err="1">
                <a:solidFill>
                  <a:schemeClr val="tx2"/>
                </a:solidFill>
              </a:rPr>
              <a:t>Cirium</a:t>
            </a:r>
            <a:endParaRPr lang="fr-FR" sz="600" dirty="0">
              <a:solidFill>
                <a:schemeClr val="tx2"/>
              </a:solidFill>
            </a:endParaRPr>
          </a:p>
        </p:txBody>
      </p:sp>
      <p:sp>
        <p:nvSpPr>
          <p:cNvPr id="122" name="ZoneTexte 121">
            <a:extLst>
              <a:ext uri="{FF2B5EF4-FFF2-40B4-BE49-F238E27FC236}">
                <a16:creationId xmlns:a16="http://schemas.microsoft.com/office/drawing/2014/main" id="{27321596-2308-40B7-9AB8-B4B01299F9B2}"/>
              </a:ext>
            </a:extLst>
          </p:cNvPr>
          <p:cNvSpPr txBox="1"/>
          <p:nvPr/>
        </p:nvSpPr>
        <p:spPr>
          <a:xfrm>
            <a:off x="11358921" y="6279362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</a:t>
            </a:r>
            <a:r>
              <a:rPr lang="fr-FR" sz="600" dirty="0" err="1">
                <a:solidFill>
                  <a:schemeClr val="tx2"/>
                </a:solidFill>
              </a:rPr>
              <a:t>Cirium</a:t>
            </a:r>
            <a:endParaRPr lang="fr-FR" sz="600" dirty="0">
              <a:solidFill>
                <a:schemeClr val="tx2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3DE472C-352A-43B2-9F11-CADCC8F1C58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4226"/>
          <a:stretch/>
        </p:blipFill>
        <p:spPr>
          <a:xfrm>
            <a:off x="9170268" y="1674173"/>
            <a:ext cx="2696931" cy="186302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74C20EB-C0F3-4D89-BE48-86028A29B5F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589" t="2593"/>
          <a:stretch/>
        </p:blipFill>
        <p:spPr>
          <a:xfrm>
            <a:off x="6363820" y="1645508"/>
            <a:ext cx="2455045" cy="196243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EF0FD22-7E72-49FA-A420-6FDE7598F62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4824" y="4082120"/>
            <a:ext cx="4821159" cy="225291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1EFEC27-B53F-4665-8A7A-20C320635EF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97535" y="4408425"/>
            <a:ext cx="5210992" cy="70357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8DF10AB-BC8E-4EFA-968B-C6F1073FE45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07694" y="5324384"/>
            <a:ext cx="5210993" cy="751353"/>
          </a:xfrm>
          <a:prstGeom prst="rect">
            <a:avLst/>
          </a:prstGeom>
        </p:spPr>
      </p:pic>
      <p:sp>
        <p:nvSpPr>
          <p:cNvPr id="107" name="ZoneTexte 106">
            <a:extLst>
              <a:ext uri="{FF2B5EF4-FFF2-40B4-BE49-F238E27FC236}">
                <a16:creationId xmlns:a16="http://schemas.microsoft.com/office/drawing/2014/main" id="{910D5080-1565-4355-8554-B1CA241378BA}"/>
              </a:ext>
            </a:extLst>
          </p:cNvPr>
          <p:cNvSpPr txBox="1"/>
          <p:nvPr/>
        </p:nvSpPr>
        <p:spPr>
          <a:xfrm>
            <a:off x="6236800" y="5679508"/>
            <a:ext cx="2032000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 panose="020B0604020202020204" pitchFamily="34" charset="0"/>
              </a:rPr>
              <a:t>07/21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B3A0BF32-D698-46D3-8036-4EC52D29CCA2}"/>
              </a:ext>
            </a:extLst>
          </p:cNvPr>
          <p:cNvSpPr txBox="1"/>
          <p:nvPr/>
        </p:nvSpPr>
        <p:spPr>
          <a:xfrm>
            <a:off x="6236800" y="4692174"/>
            <a:ext cx="2032000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 panose="020B0604020202020204" pitchFamily="34" charset="0"/>
              </a:rPr>
              <a:t>08/21</a:t>
            </a:r>
          </a:p>
        </p:txBody>
      </p:sp>
    </p:spTree>
    <p:extLst>
      <p:ext uri="{BB962C8B-B14F-4D97-AF65-F5344CB8AC3E}">
        <p14:creationId xmlns:p14="http://schemas.microsoft.com/office/powerpoint/2010/main" val="2995402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7E14FF0-0B68-4969-BEF0-799A891BC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36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3" imgW="344" imgH="344" progId="TCLayout.ActiveDocument.1">
                  <p:embed/>
                </p:oleObj>
              </mc:Choice>
              <mc:Fallback>
                <p:oleObj name="Diapositive think-cell" r:id="rId93" imgW="344" imgH="34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7E14FF0-0B68-4969-BEF0-799A891BC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0A373AB-AD61-4AED-871E-8986A038C3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28" name="Image 627">
            <a:extLst>
              <a:ext uri="{FF2B5EF4-FFF2-40B4-BE49-F238E27FC236}">
                <a16:creationId xmlns:a16="http://schemas.microsoft.com/office/drawing/2014/main" id="{28B31F95-BE17-4F95-B08B-A75F5988F9D5}"/>
              </a:ext>
            </a:extLst>
          </p:cNvPr>
          <p:cNvPicPr>
            <a:picLocks/>
          </p:cNvPicPr>
          <p:nvPr/>
        </p:nvPicPr>
        <p:blipFill rotWithShape="1">
          <a:blip r:embed="rId95"/>
          <a:srcRect l="2155"/>
          <a:stretch/>
        </p:blipFill>
        <p:spPr>
          <a:xfrm>
            <a:off x="84000" y="975360"/>
            <a:ext cx="12024000" cy="5511310"/>
          </a:xfrm>
          <a:prstGeom prst="rect">
            <a:avLst/>
          </a:prstGeom>
        </p:spPr>
      </p:pic>
      <p:sp>
        <p:nvSpPr>
          <p:cNvPr id="259" name="Rectangle 258">
            <a:extLst>
              <a:ext uri="{FF2B5EF4-FFF2-40B4-BE49-F238E27FC236}">
                <a16:creationId xmlns:a16="http://schemas.microsoft.com/office/drawing/2014/main" id="{23E859CE-D762-473B-A6A4-43916782E141}"/>
              </a:ext>
            </a:extLst>
          </p:cNvPr>
          <p:cNvSpPr/>
          <p:nvPr/>
        </p:nvSpPr>
        <p:spPr>
          <a:xfrm>
            <a:off x="6872286" y="3999379"/>
            <a:ext cx="5148264" cy="2423329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875462" y="1316564"/>
            <a:ext cx="5129213" cy="2353396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8750" y="3999380"/>
            <a:ext cx="2835275" cy="242362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891338" y="1035049"/>
            <a:ext cx="5129213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ande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/Annulations YT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00026" y="1019234"/>
            <a:ext cx="2809875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iffres-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é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637BB9-5738-4644-B55B-C7F69DDAAE70}"/>
              </a:ext>
            </a:extLst>
          </p:cNvPr>
          <p:cNvSpPr/>
          <p:nvPr/>
        </p:nvSpPr>
        <p:spPr>
          <a:xfrm>
            <a:off x="134800" y="3724391"/>
            <a:ext cx="2833688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en-US" sz="1400" b="1" kern="0" dirty="0">
                <a:solidFill>
                  <a:schemeClr val="bg1"/>
                </a:solidFill>
                <a:latin typeface="Calibri"/>
              </a:rPr>
              <a:t>Backlog YTD</a:t>
            </a:r>
          </a:p>
        </p:txBody>
      </p:sp>
      <p:pic>
        <p:nvPicPr>
          <p:cNvPr id="288" name="Image 287">
            <a:extLst>
              <a:ext uri="{FF2B5EF4-FFF2-40B4-BE49-F238E27FC236}">
                <a16:creationId xmlns:a16="http://schemas.microsoft.com/office/drawing/2014/main" id="{E97DC373-C2F1-4407-B1E9-062788795879}"/>
              </a:ext>
            </a:extLst>
          </p:cNvPr>
          <p:cNvPicPr>
            <a:picLocks/>
          </p:cNvPicPr>
          <p:nvPr/>
        </p:nvPicPr>
        <p:blipFill>
          <a:blip r:embed="rId96"/>
          <a:stretch>
            <a:fillRect/>
          </a:stretch>
        </p:blipFill>
        <p:spPr>
          <a:xfrm>
            <a:off x="8015028" y="3226749"/>
            <a:ext cx="684213" cy="455613"/>
          </a:xfrm>
          <a:prstGeom prst="rect">
            <a:avLst/>
          </a:prstGeom>
        </p:spPr>
      </p:pic>
      <p:pic>
        <p:nvPicPr>
          <p:cNvPr id="289" name="Image 288">
            <a:extLst>
              <a:ext uri="{FF2B5EF4-FFF2-40B4-BE49-F238E27FC236}">
                <a16:creationId xmlns:a16="http://schemas.microsoft.com/office/drawing/2014/main" id="{D3A2FE86-7E4C-444A-AF3A-E5EE7E89CA36}"/>
              </a:ext>
            </a:extLst>
          </p:cNvPr>
          <p:cNvPicPr>
            <a:picLocks/>
          </p:cNvPicPr>
          <p:nvPr/>
        </p:nvPicPr>
        <p:blipFill rotWithShape="1">
          <a:blip r:embed="rId97"/>
          <a:srcRect t="63342"/>
          <a:stretch/>
        </p:blipFill>
        <p:spPr>
          <a:xfrm>
            <a:off x="10423717" y="3365997"/>
            <a:ext cx="684213" cy="166688"/>
          </a:xfrm>
          <a:prstGeom prst="rect">
            <a:avLst/>
          </a:prstGeom>
        </p:spPr>
      </p:pic>
      <p:cxnSp>
        <p:nvCxnSpPr>
          <p:cNvPr id="320" name="Connecteur droit 319">
            <a:extLst>
              <a:ext uri="{FF2B5EF4-FFF2-40B4-BE49-F238E27FC236}">
                <a16:creationId xmlns:a16="http://schemas.microsoft.com/office/drawing/2014/main" id="{F605B200-D509-4610-9158-195EB3354579}"/>
              </a:ext>
            </a:extLst>
          </p:cNvPr>
          <p:cNvCxnSpPr>
            <a:cxnSpLocks/>
          </p:cNvCxnSpPr>
          <p:nvPr/>
        </p:nvCxnSpPr>
        <p:spPr>
          <a:xfrm>
            <a:off x="9426573" y="1506451"/>
            <a:ext cx="0" cy="1798638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7" name="Titre 586">
            <a:extLst>
              <a:ext uri="{FF2B5EF4-FFF2-40B4-BE49-F238E27FC236}">
                <a16:creationId xmlns:a16="http://schemas.microsoft.com/office/drawing/2014/main" id="{7FC2D976-FF61-496E-BC30-76433C060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Dashboard Airbus/Boeing Août 2021</a:t>
            </a:r>
          </a:p>
        </p:txBody>
      </p:sp>
      <p:sp>
        <p:nvSpPr>
          <p:cNvPr id="18" name="Espace réservé du pied de page 17">
            <a:extLst>
              <a:ext uri="{FF2B5EF4-FFF2-40B4-BE49-F238E27FC236}">
                <a16:creationId xmlns:a16="http://schemas.microsoft.com/office/drawing/2014/main" id="{C818D617-BDA1-4FA4-AD0B-655F504386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13034FE2-4385-4DCF-B23C-99CE479BC16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4</a:t>
            </a:fld>
            <a:endParaRPr lang="fr-FR" dirty="0"/>
          </a:p>
        </p:txBody>
      </p:sp>
      <p:pic>
        <p:nvPicPr>
          <p:cNvPr id="163" name="Image 31">
            <a:extLst>
              <a:ext uri="{FF2B5EF4-FFF2-40B4-BE49-F238E27FC236}">
                <a16:creationId xmlns:a16="http://schemas.microsoft.com/office/drawing/2014/main" id="{3BC3DAD2-8ED9-424E-A55E-E1890FE3F429}"/>
              </a:ext>
            </a:extLst>
          </p:cNvPr>
          <p:cNvPicPr>
            <a:picLocks noChangeAspect="1"/>
          </p:cNvPicPr>
          <p:nvPr/>
        </p:nvPicPr>
        <p:blipFill>
          <a:blip r:embed="rId9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38" name="Ellipse 137">
            <a:extLst>
              <a:ext uri="{FF2B5EF4-FFF2-40B4-BE49-F238E27FC236}">
                <a16:creationId xmlns:a16="http://schemas.microsoft.com/office/drawing/2014/main" id="{D7F57ED2-D42E-4509-B433-A35419661A4D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2</a:t>
            </a:r>
          </a:p>
        </p:txBody>
      </p:sp>
      <p:cxnSp>
        <p:nvCxnSpPr>
          <p:cNvPr id="237" name="Connecteur droit 236">
            <a:extLst>
              <a:ext uri="{FF2B5EF4-FFF2-40B4-BE49-F238E27FC236}">
                <a16:creationId xmlns:a16="http://schemas.microsoft.com/office/drawing/2014/main" id="{7465A2B5-A087-41D9-BDCF-605FFF5D996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756525" y="490537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necteur droit 235">
            <a:extLst>
              <a:ext uri="{FF2B5EF4-FFF2-40B4-BE49-F238E27FC236}">
                <a16:creationId xmlns:a16="http://schemas.microsoft.com/office/drawing/2014/main" id="{AA1FDE45-0B9D-4D01-B3C9-677FB72BB1F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388225" y="570547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Connecteur droit 237">
            <a:extLst>
              <a:ext uri="{FF2B5EF4-FFF2-40B4-BE49-F238E27FC236}">
                <a16:creationId xmlns:a16="http://schemas.microsoft.com/office/drawing/2014/main" id="{E9D357AF-B119-44D4-A938-72657FD66F5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126413" y="4616450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Connecteur droit 238">
            <a:extLst>
              <a:ext uri="{FF2B5EF4-FFF2-40B4-BE49-F238E27FC236}">
                <a16:creationId xmlns:a16="http://schemas.microsoft.com/office/drawing/2014/main" id="{13F1A2BD-C98E-43DB-8866-363DC24BF96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494713" y="437197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Connecteur droit 239">
            <a:extLst>
              <a:ext uri="{FF2B5EF4-FFF2-40B4-BE49-F238E27FC236}">
                <a16:creationId xmlns:a16="http://schemas.microsoft.com/office/drawing/2014/main" id="{128DD387-22BD-42A3-B808-54C04F58229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864600" y="437197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FD42C964-3FB1-4BC5-9068-C1E186698C9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658225" y="4368800"/>
            <a:ext cx="206375" cy="63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07" name="Chart 3">
            <a:extLst>
              <a:ext uri="{FF2B5EF4-FFF2-40B4-BE49-F238E27FC236}">
                <a16:creationId xmlns:a16="http://schemas.microsoft.com/office/drawing/2014/main" id="{FF304146-B410-4690-82CE-B49E1CA7529E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71972233"/>
              </p:ext>
            </p:extLst>
          </p:nvPr>
        </p:nvGraphicFramePr>
        <p:xfrm>
          <a:off x="7018338" y="4187825"/>
          <a:ext cx="2379662" cy="1776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>
        <p:nvSpPr>
          <p:cNvPr id="248" name="Espace réservé du texte 2">
            <a:extLst>
              <a:ext uri="{FF2B5EF4-FFF2-40B4-BE49-F238E27FC236}">
                <a16:creationId xmlns:a16="http://schemas.microsoft.com/office/drawing/2014/main" id="{D4A80F1B-4E5E-4901-A7A0-CABD12E6544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716963" y="4303713"/>
            <a:ext cx="889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9E257A6-3521-46E9-8DD9-043DAA0593A8}" type="datetime'''''''''''''''''''''''''''''''''''''0'''''''''">
              <a:rPr lang="fr-FR" alt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0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3" name="Espace réservé du texte 2">
            <a:extLst>
              <a:ext uri="{FF2B5EF4-FFF2-40B4-BE49-F238E27FC236}">
                <a16:creationId xmlns:a16="http://schemas.microsoft.com/office/drawing/2014/main" id="{5FAD09DC-1BCC-466C-A83F-7F46577C368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266113" y="5919788"/>
            <a:ext cx="250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9D13CDA-7B25-4EC3-843A-692F22FEE75C}" type="datetime'''''''''''''''''''''''''''''''A3''''''''''''''5''''0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5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4" name="Espace réservé du texte 2">
            <a:extLst>
              <a:ext uri="{FF2B5EF4-FFF2-40B4-BE49-F238E27FC236}">
                <a16:creationId xmlns:a16="http://schemas.microsoft.com/office/drawing/2014/main" id="{44704398-683D-48B0-AC44-89855D366DA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159625" y="5919788"/>
            <a:ext cx="250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8CC3E5A-60DC-4D01-941B-0D1EE24E4FB8}" type="datetime'''''''''''A''''''''''''''''''''''''''2''''''''''''''2''0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22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1" name="Espace réservé du texte 2">
            <a:extLst>
              <a:ext uri="{FF2B5EF4-FFF2-40B4-BE49-F238E27FC236}">
                <a16:creationId xmlns:a16="http://schemas.microsoft.com/office/drawing/2014/main" id="{24A04A89-1568-403D-97E2-65DAF015C36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897813" y="5919788"/>
            <a:ext cx="2508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F768BDB-0BDE-49E4-AC8D-36F36712D329}" type="datetime'''''''''A3''''''30 ''''F''''''a''''''''''''''m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30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8" name="Espace réservé du texte 2">
            <a:extLst>
              <a:ext uri="{FF2B5EF4-FFF2-40B4-BE49-F238E27FC236}">
                <a16:creationId xmlns:a16="http://schemas.microsoft.com/office/drawing/2014/main" id="{3FD2B578-1CA5-4839-9017-7E3EC625671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527925" y="5919788"/>
            <a:ext cx="2508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ADBB20A-7610-4CCE-B70B-D9940AA51AC8}" type="datetime'A''''''''''''''''32''''''''''0'''' ''F''''''am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20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5" name="Espace réservé du texte 2">
            <a:extLst>
              <a:ext uri="{FF2B5EF4-FFF2-40B4-BE49-F238E27FC236}">
                <a16:creationId xmlns:a16="http://schemas.microsoft.com/office/drawing/2014/main" id="{9AC11AB8-6836-4499-9807-52E88DB1F8D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636000" y="5919788"/>
            <a:ext cx="250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42C06D8-7C8F-4906-B7A6-2B586835D758}" type="datetime'A''''3''''''''''''''''8''''''''''''''0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8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0" name="Espace réservé du texte 2">
            <a:extLst>
              <a:ext uri="{FF2B5EF4-FFF2-40B4-BE49-F238E27FC236}">
                <a16:creationId xmlns:a16="http://schemas.microsoft.com/office/drawing/2014/main" id="{310F3317-B6FE-436B-A317-50F2F752A60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001125" y="5919788"/>
            <a:ext cx="2571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B37910B-B3DF-4DE9-90E3-3B9CF516CD99}" type="datetime'''To''''''''''''''''''t''''''''''''''a''''''''l'">
              <a:rPr lang="fr-FR" altLang="en-US" sz="9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</a:t>
            </a:fld>
            <a:endParaRPr lang="fr-FR" sz="9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258" name="Connecteur droit 257">
            <a:extLst>
              <a:ext uri="{FF2B5EF4-FFF2-40B4-BE49-F238E27FC236}">
                <a16:creationId xmlns:a16="http://schemas.microsoft.com/office/drawing/2014/main" id="{E8E7019A-5327-4CE4-BFA7-3C388DC4E25E}"/>
              </a:ext>
            </a:extLst>
          </p:cNvPr>
          <p:cNvCxnSpPr>
            <a:cxnSpLocks/>
          </p:cNvCxnSpPr>
          <p:nvPr/>
        </p:nvCxnSpPr>
        <p:spPr>
          <a:xfrm>
            <a:off x="9474200" y="4297363"/>
            <a:ext cx="0" cy="1800225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Connecteur droit 292">
            <a:extLst>
              <a:ext uri="{FF2B5EF4-FFF2-40B4-BE49-F238E27FC236}">
                <a16:creationId xmlns:a16="http://schemas.microsoft.com/office/drawing/2014/main" id="{3BD8CEDC-D973-47B5-AC94-45DBAEF262DA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666413" y="468947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Connecteur droit 285">
            <a:extLst>
              <a:ext uri="{FF2B5EF4-FFF2-40B4-BE49-F238E27FC236}">
                <a16:creationId xmlns:a16="http://schemas.microsoft.com/office/drawing/2014/main" id="{792D639D-417A-4350-96F5-6C3B528BEBB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9928225" y="4754563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Connecteur droit 291">
            <a:extLst>
              <a:ext uri="{FF2B5EF4-FFF2-40B4-BE49-F238E27FC236}">
                <a16:creationId xmlns:a16="http://schemas.microsoft.com/office/drawing/2014/main" id="{4EB1CD05-6D2E-4B27-BE3A-C5D18551CFB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296525" y="471487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Connecteur droit 293">
            <a:extLst>
              <a:ext uri="{FF2B5EF4-FFF2-40B4-BE49-F238E27FC236}">
                <a16:creationId xmlns:a16="http://schemas.microsoft.com/office/drawing/2014/main" id="{4A4D7B39-E4E5-49A1-9AFF-D7FD943668B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1034713" y="463232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Connecteur droit 294">
            <a:extLst>
              <a:ext uri="{FF2B5EF4-FFF2-40B4-BE49-F238E27FC236}">
                <a16:creationId xmlns:a16="http://schemas.microsoft.com/office/drawing/2014/main" id="{74B4828D-8D30-402D-8676-15BCB2E8651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1404600" y="4386263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6" name="Chart 3">
            <a:extLst>
              <a:ext uri="{FF2B5EF4-FFF2-40B4-BE49-F238E27FC236}">
                <a16:creationId xmlns:a16="http://schemas.microsoft.com/office/drawing/2014/main" id="{21B041E7-BE8F-40BF-9E82-52B7EF89D578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246384092"/>
              </p:ext>
            </p:extLst>
          </p:nvPr>
        </p:nvGraphicFramePr>
        <p:xfrm>
          <a:off x="9558338" y="4202113"/>
          <a:ext cx="2379662" cy="176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302" name="Espace réservé du texte 2">
            <a:extLst>
              <a:ext uri="{FF2B5EF4-FFF2-40B4-BE49-F238E27FC236}">
                <a16:creationId xmlns:a16="http://schemas.microsoft.com/office/drawing/2014/main" id="{792B99E9-7506-47FC-9BA8-9F1C2F6839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720263" y="5919788"/>
            <a:ext cx="2111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5549A1E-A160-490D-8D75-C9EEADA556D1}" type="datetime'''''''''''7''''''3''7'''''''''' ''''F''''''''''''''am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37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3" name="Espace réservé du texte 2">
            <a:extLst>
              <a:ext uri="{FF2B5EF4-FFF2-40B4-BE49-F238E27FC236}">
                <a16:creationId xmlns:a16="http://schemas.microsoft.com/office/drawing/2014/main" id="{E8D5E44D-9F6F-4591-A128-D45FEBB91CC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120313" y="4665663"/>
            <a:ext cx="1460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87DFF26-F1C0-406B-8534-CA578CCD5EE7}" type="datetime'1''''''''''''''''''6'''''''''''''''''''''">
              <a:rPr lang="fr-FR" alt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16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37" name="Espace réservé du texte 2">
            <a:extLst>
              <a:ext uri="{FF2B5EF4-FFF2-40B4-BE49-F238E27FC236}">
                <a16:creationId xmlns:a16="http://schemas.microsoft.com/office/drawing/2014/main" id="{E17B4A14-0DC6-4748-9AB0-76BA63D4383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101263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D29A122-4AAF-4594-95F5-AB5ECEB04E21}" type="datetime'''''''7''''''''4''''''''''7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4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4" name="Espace réservé du texte 2">
            <a:extLst>
              <a:ext uri="{FF2B5EF4-FFF2-40B4-BE49-F238E27FC236}">
                <a16:creationId xmlns:a16="http://schemas.microsoft.com/office/drawing/2014/main" id="{4A8310BC-D557-409B-902F-54798E9EA84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858500" y="4592638"/>
            <a:ext cx="1460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9F6A4DC-0A7A-4003-918C-4F716B9C7331}" type="datetime'''''''''2''''''''''''''''''''''3'''''''''''">
              <a:rPr lang="fr-FR" altLang="en-US" sz="90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pPr/>
              <a:t>23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1" name="Espace réservé du texte 2">
            <a:extLst>
              <a:ext uri="{FF2B5EF4-FFF2-40B4-BE49-F238E27FC236}">
                <a16:creationId xmlns:a16="http://schemas.microsoft.com/office/drawing/2014/main" id="{0E222F4E-57D0-4A60-83DA-DF2D46BDC95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490200" y="4633913"/>
            <a:ext cx="1460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06EC4D6-BC38-4B3B-9598-AE6FB0A60FF4}" type="datetime'''''''''''''''''''1''0'''''''''''''''''''''''''">
              <a:rPr lang="fr-FR" altLang="en-US" sz="90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pPr/>
              <a:t>10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6" name="Espace réservé du texte 2">
            <a:extLst>
              <a:ext uri="{FF2B5EF4-FFF2-40B4-BE49-F238E27FC236}">
                <a16:creationId xmlns:a16="http://schemas.microsoft.com/office/drawing/2014/main" id="{D8C455AB-39E6-4CB4-BA75-E5C956AA5BD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209338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C81375A-640B-41AA-B0DF-85DBB68350D6}" type="datetime'''''''''''''''''''''''''7''8''7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8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0" name="Espace réservé du texte 2">
            <a:extLst>
              <a:ext uri="{FF2B5EF4-FFF2-40B4-BE49-F238E27FC236}">
                <a16:creationId xmlns:a16="http://schemas.microsoft.com/office/drawing/2014/main" id="{7C573944-9D35-4E24-908D-AB871EB87F6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471150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14260C3-ABD4-4CF2-8F9C-59671F68DF34}" type="datetime'76''''''''''''''''''''''''''''''''''''''''7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6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2" name="Espace réservé du texte 2">
            <a:extLst>
              <a:ext uri="{FF2B5EF4-FFF2-40B4-BE49-F238E27FC236}">
                <a16:creationId xmlns:a16="http://schemas.microsoft.com/office/drawing/2014/main" id="{3457CB0F-B3D8-40D5-91D2-4F9AE7D78E8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839450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F510D96-36B3-47CD-BA56-CE5E389C282C}" type="datetime'''7''''7''''''''''''''''''7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2" name="Espace réservé du texte 2">
            <a:extLst>
              <a:ext uri="{FF2B5EF4-FFF2-40B4-BE49-F238E27FC236}">
                <a16:creationId xmlns:a16="http://schemas.microsoft.com/office/drawing/2014/main" id="{F0D1334D-247F-479D-841F-3855BCAF0A4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541125" y="5919788"/>
            <a:ext cx="2571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451FC48-7EE8-4068-9B86-D7AB7D743A04}" type="datetime'Tot''''''''a''''''''''l'''''''">
              <a:rPr lang="fr-FR" altLang="en-US" sz="9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</a:t>
            </a:fld>
            <a:endParaRPr lang="fr-FR" sz="9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722C45A-27DD-4C98-B534-7A0593FA8238}"/>
              </a:ext>
            </a:extLst>
          </p:cNvPr>
          <p:cNvSpPr/>
          <p:nvPr/>
        </p:nvSpPr>
        <p:spPr>
          <a:xfrm>
            <a:off x="3074988" y="1300137"/>
            <a:ext cx="3743323" cy="51323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8454F27-009D-49D5-824E-8B8829526155}"/>
              </a:ext>
            </a:extLst>
          </p:cNvPr>
          <p:cNvSpPr/>
          <p:nvPr/>
        </p:nvSpPr>
        <p:spPr>
          <a:xfrm>
            <a:off x="3086227" y="1028700"/>
            <a:ext cx="3751136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Livraisons</a:t>
            </a:r>
          </a:p>
        </p:txBody>
      </p:sp>
      <p:graphicFrame>
        <p:nvGraphicFramePr>
          <p:cNvPr id="204" name="Chart 3">
            <a:extLst>
              <a:ext uri="{FF2B5EF4-FFF2-40B4-BE49-F238E27FC236}">
                <a16:creationId xmlns:a16="http://schemas.microsoft.com/office/drawing/2014/main" id="{DD59D782-051B-438E-894A-703B47308381}"/>
              </a:ext>
            </a:extLst>
          </p:cNvPr>
          <p:cNvGraphicFramePr/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089232150"/>
              </p:ext>
            </p:extLst>
          </p:nvPr>
        </p:nvGraphicFramePr>
        <p:xfrm>
          <a:off x="3060700" y="1671638"/>
          <a:ext cx="3676650" cy="1787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sp useBgFill="1">
        <p:nvSpPr>
          <p:cNvPr id="202" name="Espace réservé du texte 2">
            <a:extLst>
              <a:ext uri="{FF2B5EF4-FFF2-40B4-BE49-F238E27FC236}">
                <a16:creationId xmlns:a16="http://schemas.microsoft.com/office/drawing/2014/main" id="{2144720E-D780-4246-81C4-BADFEA1A998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467100" y="2554289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9960A6D-04E8-4EED-8C66-624CBD0485B8}" type="datetime'''3''''''''''''''''''''''''''''''''''''''''''''''''''''9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9" name="Espace réservé du texte 2">
            <a:extLst>
              <a:ext uri="{FF2B5EF4-FFF2-40B4-BE49-F238E27FC236}">
                <a16:creationId xmlns:a16="http://schemas.microsoft.com/office/drawing/2014/main" id="{8837CD83-9A90-4F1F-9C41-A9D386AE81A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673475" y="3406776"/>
            <a:ext cx="650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3F4A1F6-1A83-4504-AE25-DEE72F2C4ED5}" type="datetime'''''''''''''''''''''''''''''''''''''''''''''''''''S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7" name="Espace réservé du texte 2">
            <a:extLst>
              <a:ext uri="{FF2B5EF4-FFF2-40B4-BE49-F238E27FC236}">
                <a16:creationId xmlns:a16="http://schemas.microsoft.com/office/drawing/2014/main" id="{59E56C5E-C398-4AB8-9E25-9801882A83F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398838" y="3406776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56FD978-0E8A-4A21-8E82-0BFC7442E466}" type="datetime'''''''''''''''''''''''''''''''''''''''''''''''''''A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0" name="Espace réservé du texte 2">
            <a:extLst>
              <a:ext uri="{FF2B5EF4-FFF2-40B4-BE49-F238E27FC236}">
                <a16:creationId xmlns:a16="http://schemas.microsoft.com/office/drawing/2014/main" id="{1F37C3BB-E3C2-482F-B5B4-7024EAC582E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927475" y="3406776"/>
            <a:ext cx="889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F32EA78-8E7B-4014-8D1B-1F0D1E93B498}" type="datetime'''''''''''''O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O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1" name="Espace réservé du texte 2">
            <a:extLst>
              <a:ext uri="{FF2B5EF4-FFF2-40B4-BE49-F238E27FC236}">
                <a16:creationId xmlns:a16="http://schemas.microsoft.com/office/drawing/2014/main" id="{51768A0B-0C85-4FAE-9D46-00462015D55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194175" y="3406776"/>
            <a:ext cx="85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9D4D69F-BE34-447E-9667-1D9D0F9D0098}" type="datetime'N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N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72" name="Espace réservé du texte 2">
            <a:extLst>
              <a:ext uri="{FF2B5EF4-FFF2-40B4-BE49-F238E27FC236}">
                <a16:creationId xmlns:a16="http://schemas.microsoft.com/office/drawing/2014/main" id="{D6213BE2-F83F-42F2-AEF3-1C7E0C020E0C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95925" y="2459039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45BE82A-5BFB-4F77-AB08-E155CDFAF4A1}" type="datetime'''''''''''''''''''''''''''''4''''''''''''''''''''''''''''5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70" name="Espace réservé du texte 2">
            <a:extLst>
              <a:ext uri="{FF2B5EF4-FFF2-40B4-BE49-F238E27FC236}">
                <a16:creationId xmlns:a16="http://schemas.microsoft.com/office/drawing/2014/main" id="{E7A1DBDF-DE03-404A-BE2E-463E8CB11F1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164013" y="2152651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51B3FEA-DB86-43D2-A579-B03E79469E86}" type="datetime'''''''''''''''''6''''''''''4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64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71" name="Espace réservé du texte 2">
            <a:extLst>
              <a:ext uri="{FF2B5EF4-FFF2-40B4-BE49-F238E27FC236}">
                <a16:creationId xmlns:a16="http://schemas.microsoft.com/office/drawing/2014/main" id="{243149C3-F9D2-4D9A-B60A-073600B15D7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697413" y="2843214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D031586-7E38-4889-B3B9-027827710A4F}" type="datetime'''''''''2''''''''''''''''''''''''1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2" name="Espace réservé du texte 2">
            <a:extLst>
              <a:ext uri="{FF2B5EF4-FFF2-40B4-BE49-F238E27FC236}">
                <a16:creationId xmlns:a16="http://schemas.microsoft.com/office/drawing/2014/main" id="{5CA29E31-9C27-47C4-87D8-9254DF9F739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462463" y="3406775"/>
            <a:ext cx="82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336CE8C-855C-4B23-A7BA-97CD2B4D73F0}" type="datetime'''''''''''''''''''''''''''''''D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6" name="Espace réservé du texte 2">
            <a:extLst>
              <a:ext uri="{FF2B5EF4-FFF2-40B4-BE49-F238E27FC236}">
                <a16:creationId xmlns:a16="http://schemas.microsoft.com/office/drawing/2014/main" id="{FFB1ADF8-FC39-450E-8713-51E84E19C50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529263" y="3406775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9D89159-59FC-4AB6-817F-E7A3CF1CD8CA}" type="datetime'''''''''''''''''A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7" name="Espace réservé du texte 2">
            <a:extLst>
              <a:ext uri="{FF2B5EF4-FFF2-40B4-BE49-F238E27FC236}">
                <a16:creationId xmlns:a16="http://schemas.microsoft.com/office/drawing/2014/main" id="{1EE0F536-1CDA-4CA8-B758-F9EB93AD4D7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746625" y="3406775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73F523E-0A4C-4FF4-8133-42C5B03FB6F5}" type="datetime'''''''''''''''J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25" name="Espace réservé du texte 2">
            <a:extLst>
              <a:ext uri="{FF2B5EF4-FFF2-40B4-BE49-F238E27FC236}">
                <a16:creationId xmlns:a16="http://schemas.microsoft.com/office/drawing/2014/main" id="{7C69B050-26D8-48A8-8232-9F11ABE056B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964113" y="2667000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F23178E-915C-44A6-BF2D-3123231C55A8}" type="datetime'''''3''''''''''''''''''''''''''''''''''''''''2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4" name="Espace réservé du texte 2">
            <a:extLst>
              <a:ext uri="{FF2B5EF4-FFF2-40B4-BE49-F238E27FC236}">
                <a16:creationId xmlns:a16="http://schemas.microsoft.com/office/drawing/2014/main" id="{7B64E7BF-CF59-4648-94EB-7A74AD3D5C0D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005388" y="3406775"/>
            <a:ext cx="650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1516EE0-BFB5-488B-B107-BC40A1A8ECA0}" type="datetime'''''''''''F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F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3" name="Espace réservé du texte 2">
            <a:extLst>
              <a:ext uri="{FF2B5EF4-FFF2-40B4-BE49-F238E27FC236}">
                <a16:creationId xmlns:a16="http://schemas.microsoft.com/office/drawing/2014/main" id="{7DB56D33-38DD-4C6B-AC78-566A167A3FEC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343650" y="3406775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B467562-8B71-4669-BA6F-555F4DEC7069}" type="datetime'''''''''''''J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9" name="Espace réservé du texte 2">
            <a:extLst>
              <a:ext uri="{FF2B5EF4-FFF2-40B4-BE49-F238E27FC236}">
                <a16:creationId xmlns:a16="http://schemas.microsoft.com/office/drawing/2014/main" id="{D12FEA10-F966-47C4-B7BA-75D9F21C8E5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246688" y="3406775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37A862B-5082-431A-86C7-2EF4E0E9471C}" type="datetime'''''M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00" name="Espace réservé du texte 2">
            <a:extLst>
              <a:ext uri="{FF2B5EF4-FFF2-40B4-BE49-F238E27FC236}">
                <a16:creationId xmlns:a16="http://schemas.microsoft.com/office/drawing/2014/main" id="{F923AE85-757B-4385-B523-F3EC007ED84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5762625" y="2378076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25D07CA-67B3-41E7-AA9F-A81D21BDED22}" type="datetime'''''''''''''''''''5''''''''''0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256E1423-A209-48D4-AFF3-8C76C5F02B1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5780088" y="3406775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CB56F0D-19D7-4DB2-810C-879A89CBEC15}" type="datetime'''''M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93D26106-91A6-4BA4-92EB-AC4980D93D4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078538" y="3406775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292056C-26E7-445D-A68C-3D8988172172}" type="datetime'''''''''''''''''''''''''''''''''''''''J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01" name="Espace réservé du texte 2">
            <a:extLst>
              <a:ext uri="{FF2B5EF4-FFF2-40B4-BE49-F238E27FC236}">
                <a16:creationId xmlns:a16="http://schemas.microsoft.com/office/drawing/2014/main" id="{E64A26F2-ADE2-4485-B231-2EC15796C5C9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294438" y="2425701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E289922-5EC5-4288-9BDB-A3541DEE4D9C}" type="datetime'''''''''''''4''''''''''''''''7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4" name="Espace réservé du texte 2">
            <a:extLst>
              <a:ext uri="{FF2B5EF4-FFF2-40B4-BE49-F238E27FC236}">
                <a16:creationId xmlns:a16="http://schemas.microsoft.com/office/drawing/2014/main" id="{0A616563-7977-47D0-B4F3-7AE2898D409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594475" y="3406775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D04D961-496A-460A-B08E-0F0A9AC86E2A}" type="datetime'''''''''''''''''''''''''''''''''''''''''''''''''''''''''A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F5F2A09A-D365-4B86-BDF7-F29A3975893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5638800" y="1652588"/>
            <a:ext cx="339725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ED80DA2B-47C8-47B1-AFB7-5FC763270831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4554538" y="1465263"/>
            <a:ext cx="361950" cy="0"/>
          </a:xfrm>
          <a:prstGeom prst="line">
            <a:avLst/>
          </a:prstGeom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6F679206-3DC2-4012-8017-4B807F48499C}"/>
              </a:ext>
            </a:extLst>
          </p:cNvPr>
          <p:cNvCxnSpPr/>
          <p:nvPr>
            <p:custDataLst>
              <p:tags r:id="rId56"/>
            </p:custDataLst>
          </p:nvPr>
        </p:nvCxnSpPr>
        <p:spPr bwMode="gray">
          <a:xfrm>
            <a:off x="4565650" y="1652588"/>
            <a:ext cx="339725" cy="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D49100A0-C151-4CA3-A7BC-FD2749A72A3C}"/>
              </a:ext>
            </a:extLst>
          </p:cNvPr>
          <p:cNvCxnSpPr/>
          <p:nvPr>
            <p:custDataLst>
              <p:tags r:id="rId57"/>
            </p:custDataLst>
          </p:nvPr>
        </p:nvCxnSpPr>
        <p:spPr bwMode="gray">
          <a:xfrm>
            <a:off x="5627688" y="1465263"/>
            <a:ext cx="361950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0" name="Espace réservé du texte 2">
            <a:extLst>
              <a:ext uri="{FF2B5EF4-FFF2-40B4-BE49-F238E27FC236}">
                <a16:creationId xmlns:a16="http://schemas.microsoft.com/office/drawing/2014/main" id="{F5A2143A-6566-4A28-962A-36C5BC69439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967288" y="1401763"/>
            <a:ext cx="558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3304343D-11BF-453B-8D21-1D9D6CB01C36}" type="datetime'T''otal ''''''''Ai''''''''''''r''b''''''''us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 Airbu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2" name="Espace réservé du texte 2">
            <a:extLst>
              <a:ext uri="{FF2B5EF4-FFF2-40B4-BE49-F238E27FC236}">
                <a16:creationId xmlns:a16="http://schemas.microsoft.com/office/drawing/2014/main" id="{9F264F68-D439-43F3-A08D-DC68A263720D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4967288" y="1589088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2E567860-90C8-40E9-A0AA-A38853B0971B}" type="datetime'''d''o''''''''''''''''''''''n''t ''''A''32''''0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2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9" name="Espace réservé du texte 2">
            <a:extLst>
              <a:ext uri="{FF2B5EF4-FFF2-40B4-BE49-F238E27FC236}">
                <a16:creationId xmlns:a16="http://schemas.microsoft.com/office/drawing/2014/main" id="{B01DB2A9-A92F-4586-831D-33B5896BCA5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040438" y="1589088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568E8AD-E0EC-4AC4-9C6C-92B238E94D20}" type="datetime'd''''''''o''''''''nt'' A''''3''''''50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5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1" name="Espace réservé du texte 2">
            <a:extLst>
              <a:ext uri="{FF2B5EF4-FFF2-40B4-BE49-F238E27FC236}">
                <a16:creationId xmlns:a16="http://schemas.microsoft.com/office/drawing/2014/main" id="{ACEBC4E5-6B0C-4744-BF37-FAFC6AC237BE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040438" y="1401763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39CBA89-4B47-4C5E-A30D-6B5AC68E8AF4}" type="datetime'''''''''''d''''''''''''o''''nt'' ''''''A''''''3''''''''3''0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3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228" name="Chart 3">
            <a:extLst>
              <a:ext uri="{FF2B5EF4-FFF2-40B4-BE49-F238E27FC236}">
                <a16:creationId xmlns:a16="http://schemas.microsoft.com/office/drawing/2014/main" id="{07D45906-7679-4FD6-9CC1-7565BEE8B18D}"/>
              </a:ext>
            </a:extLst>
          </p:cNvPr>
          <p:cNvGraphicFramePr/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1147675726"/>
              </p:ext>
            </p:extLst>
          </p:nvPr>
        </p:nvGraphicFramePr>
        <p:xfrm>
          <a:off x="3117850" y="3959225"/>
          <a:ext cx="3619500" cy="2003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3"/>
          </a:graphicData>
        </a:graphic>
      </p:graphicFrame>
      <p:sp>
        <p:nvSpPr>
          <p:cNvPr id="174" name="Espace réservé du texte 2">
            <a:extLst>
              <a:ext uri="{FF2B5EF4-FFF2-40B4-BE49-F238E27FC236}">
                <a16:creationId xmlns:a16="http://schemas.microsoft.com/office/drawing/2014/main" id="{030F21D3-A9A5-47DD-8F6A-1F8E23FCB6A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4746625" y="5910263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F8367A0-29B2-420D-8275-567B36F34DFF}" type="datetime'''''''''J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9" name="Espace réservé du texte 2">
            <a:extLst>
              <a:ext uri="{FF2B5EF4-FFF2-40B4-BE49-F238E27FC236}">
                <a16:creationId xmlns:a16="http://schemas.microsoft.com/office/drawing/2014/main" id="{A8B28EDB-6ED8-4579-8290-518176A683A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673475" y="5910264"/>
            <a:ext cx="650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F984C1E-ACAB-46F9-8B75-235E3FAA5658}" type="datetime'''S''''''''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8" name="Espace réservé du texte 2">
            <a:extLst>
              <a:ext uri="{FF2B5EF4-FFF2-40B4-BE49-F238E27FC236}">
                <a16:creationId xmlns:a16="http://schemas.microsoft.com/office/drawing/2014/main" id="{2CCDC18F-0248-43B2-92DE-CE2D93D2CAED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4194175" y="5910264"/>
            <a:ext cx="85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88DEF17-6DBE-4CA0-8149-9F668065CCE4}" type="datetime'''''''''''''''''''''''''''''''''''''''''''''''''''''''N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N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8" name="Espace réservé du texte 2">
            <a:extLst>
              <a:ext uri="{FF2B5EF4-FFF2-40B4-BE49-F238E27FC236}">
                <a16:creationId xmlns:a16="http://schemas.microsoft.com/office/drawing/2014/main" id="{5B994944-A03C-4359-A908-BF6DED65B008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398838" y="5910264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39B1940-6FDC-49FB-86AC-83642E6054E5}" type="datetime'''''''''A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75" name="Espace réservé du texte 2">
            <a:extLst>
              <a:ext uri="{FF2B5EF4-FFF2-40B4-BE49-F238E27FC236}">
                <a16:creationId xmlns:a16="http://schemas.microsoft.com/office/drawing/2014/main" id="{2F8499CF-F49D-461C-BD71-574CC84B301F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192588" y="5419725"/>
            <a:ext cx="8890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88106E7-E50B-41A5-B0CC-92E09A8F560C}" type="datetime'''''''7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5" name="Espace réservé du texte 2">
            <a:extLst>
              <a:ext uri="{FF2B5EF4-FFF2-40B4-BE49-F238E27FC236}">
                <a16:creationId xmlns:a16="http://schemas.microsoft.com/office/drawing/2014/main" id="{72493A5C-7BE1-449E-A5BA-C58C77C4D6A1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005388" y="5910263"/>
            <a:ext cx="650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BA581B7-20FA-4BF3-B495-86D754DCA965}" type="datetime'''''''''''''''''''''''''''F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F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0" name="Espace réservé du texte 2">
            <a:extLst>
              <a:ext uri="{FF2B5EF4-FFF2-40B4-BE49-F238E27FC236}">
                <a16:creationId xmlns:a16="http://schemas.microsoft.com/office/drawing/2014/main" id="{DAB6CB2B-E08A-4815-86A0-F45034590DC7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927475" y="5910264"/>
            <a:ext cx="889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A02DA0A-2A15-4D74-BEA4-C6376AC49475}" type="datetime'''''''''''''''''''''''''''''''''''O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O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3" name="Espace réservé du texte 2">
            <a:extLst>
              <a:ext uri="{FF2B5EF4-FFF2-40B4-BE49-F238E27FC236}">
                <a16:creationId xmlns:a16="http://schemas.microsoft.com/office/drawing/2014/main" id="{437864A9-D6E5-48E0-AC22-8B1AC2C2796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6078538" y="5910263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7186D91-EB8A-4ED4-AC33-07A7E4739034}" type="datetime'''''''''''''''''''J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7" name="Espace réservé du texte 2">
            <a:extLst>
              <a:ext uri="{FF2B5EF4-FFF2-40B4-BE49-F238E27FC236}">
                <a16:creationId xmlns:a16="http://schemas.microsoft.com/office/drawing/2014/main" id="{FB7A7D5C-429B-42F4-B257-D107BFE0E02D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4462463" y="5910263"/>
            <a:ext cx="82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E110A8D-3A6F-423C-9735-7B03EC183FB3}" type="datetime'''''''''''''''''''''''''D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78" name="Espace réservé du texte 2">
            <a:extLst>
              <a:ext uri="{FF2B5EF4-FFF2-40B4-BE49-F238E27FC236}">
                <a16:creationId xmlns:a16="http://schemas.microsoft.com/office/drawing/2014/main" id="{CADEE7B2-857C-45C5-9C95-0F75246A888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697413" y="4700588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5B483D8-B654-4BF2-97ED-D35C534F6A7A}" type="datetime'''''''''''''2''''6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6" name="Espace réservé du texte 2">
            <a:extLst>
              <a:ext uri="{FF2B5EF4-FFF2-40B4-BE49-F238E27FC236}">
                <a16:creationId xmlns:a16="http://schemas.microsoft.com/office/drawing/2014/main" id="{10133404-69A2-4C5A-AFCF-BBAD1E9D1CC7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529263" y="5910263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2B434F1-5544-4726-B2B3-ADFEE3CA03BD}" type="datetime'''''''''''''''''''''''''''A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0" name="Espace réservé du texte 2">
            <a:extLst>
              <a:ext uri="{FF2B5EF4-FFF2-40B4-BE49-F238E27FC236}">
                <a16:creationId xmlns:a16="http://schemas.microsoft.com/office/drawing/2014/main" id="{CF8826F4-867C-4AD5-9C44-1ADE6129DDD9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5246688" y="5910263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40B6780-10E9-4227-9DB6-BD1D28A30A1A}" type="datetime'''''M''''''''''''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96" name="Espace réservé du texte 2">
            <a:extLst>
              <a:ext uri="{FF2B5EF4-FFF2-40B4-BE49-F238E27FC236}">
                <a16:creationId xmlns:a16="http://schemas.microsoft.com/office/drawing/2014/main" id="{84F31653-A97B-4861-9302-AAF39B6BE33B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5495925" y="5041900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DE1E8CC-820A-462A-9FD0-9F9867054544}" type="datetime'''''''''''''''''''''''''''''1''''''7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32" name="Espace réservé du texte 2">
            <a:extLst>
              <a:ext uri="{FF2B5EF4-FFF2-40B4-BE49-F238E27FC236}">
                <a16:creationId xmlns:a16="http://schemas.microsoft.com/office/drawing/2014/main" id="{ADB348D0-7624-433F-B531-E77AAD87473B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5762625" y="5041901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B1B6EE9-610B-4D43-967E-DB43F4387703}" type="datetime'''''''''''''''''''''''''''''''''''''''''''''''''''1''''7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7" name="Espace réservé du texte 2">
            <a:extLst>
              <a:ext uri="{FF2B5EF4-FFF2-40B4-BE49-F238E27FC236}">
                <a16:creationId xmlns:a16="http://schemas.microsoft.com/office/drawing/2014/main" id="{269FA514-7E09-4851-878B-A7DF41C04C12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780088" y="5910263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673E470-F209-4894-8916-A3A223DCA321}" type="datetime'''''''''''''''''''M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46" name="Espace réservé du texte 2">
            <a:extLst>
              <a:ext uri="{FF2B5EF4-FFF2-40B4-BE49-F238E27FC236}">
                <a16:creationId xmlns:a16="http://schemas.microsoft.com/office/drawing/2014/main" id="{5480C29B-7193-449F-A0FE-8AAB28454918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6294438" y="4624389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07D79CB-8CFF-414B-9061-5A651524D96A}" type="datetime'2''''''''''''''''''''''''''''''''''8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3" name="Espace réservé du texte 2">
            <a:extLst>
              <a:ext uri="{FF2B5EF4-FFF2-40B4-BE49-F238E27FC236}">
                <a16:creationId xmlns:a16="http://schemas.microsoft.com/office/drawing/2014/main" id="{28F45D01-126B-4D3B-8CA7-B7A4C3FC4C2C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6343650" y="5910263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EC57E05-5DA0-4ECB-AED2-72ECAD4643A4}" type="datetime'''''''''''''''''J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5" name="Espace réservé du texte 2">
            <a:extLst>
              <a:ext uri="{FF2B5EF4-FFF2-40B4-BE49-F238E27FC236}">
                <a16:creationId xmlns:a16="http://schemas.microsoft.com/office/drawing/2014/main" id="{FF4E99C7-E06D-4BF8-8923-A237F58B3A0F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6594475" y="5910263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EFFCA1D-35E6-48CF-8BDB-92A8333F143A}" type="datetime'''''''''''''''''''''A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1AA9206-C201-4B98-9269-0A817B3170CA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3917950" y="4094163"/>
            <a:ext cx="339725" cy="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11B8B09D-36B8-4ACE-8D68-500FE4CE1F92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3906838" y="3906838"/>
            <a:ext cx="361950" cy="0"/>
          </a:xfrm>
          <a:prstGeom prst="line">
            <a:avLst/>
          </a:prstGeom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8B3CAAB4-9345-46D6-90B7-F1DFD5C4CE33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5002213" y="3906838"/>
            <a:ext cx="361950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648A47E9-1630-478E-B25C-4F567BC60775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5013325" y="4094163"/>
            <a:ext cx="339725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9" name="Espace réservé du texte 2">
            <a:extLst>
              <a:ext uri="{FF2B5EF4-FFF2-40B4-BE49-F238E27FC236}">
                <a16:creationId xmlns:a16="http://schemas.microsoft.com/office/drawing/2014/main" id="{1237313B-74C6-4A9C-BE55-54FA251AAA46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4319588" y="3843338"/>
            <a:ext cx="581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0AB56A53-E57F-4300-AA50-9916C1CA6EB5}" type="datetime'''Tot''''''a''l'' B''o''''''e''''''in''g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 Boeing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0" name="Espace réservé du texte 2">
            <a:extLst>
              <a:ext uri="{FF2B5EF4-FFF2-40B4-BE49-F238E27FC236}">
                <a16:creationId xmlns:a16="http://schemas.microsoft.com/office/drawing/2014/main" id="{D9357BDD-CA71-4441-881F-B5695BCE28FB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4319588" y="4030663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75EE1A5F-EC66-495A-881D-7071FAC82F92}" type="datetime'''''d''''''''''''''''''''o''''''''''''''nt'' 7''''3''''7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3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2" name="Espace réservé du texte 2">
            <a:extLst>
              <a:ext uri="{FF2B5EF4-FFF2-40B4-BE49-F238E27FC236}">
                <a16:creationId xmlns:a16="http://schemas.microsoft.com/office/drawing/2014/main" id="{CFF557F7-830D-4248-9720-030560BFA261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414963" y="3843338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53D33910-9364-4484-9AD3-D6440108B366}" type="datetime'''''''''''''''''d''''on''''t ''''''''7''''7''''''''''7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7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1" name="Espace réservé du texte 2">
            <a:extLst>
              <a:ext uri="{FF2B5EF4-FFF2-40B4-BE49-F238E27FC236}">
                <a16:creationId xmlns:a16="http://schemas.microsoft.com/office/drawing/2014/main" id="{124915EF-63E7-40CB-B698-47D47CF3DCCE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5414963" y="4030663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83B57022-A7E4-4B91-89A7-EB400BD179F2}" type="datetime'''''d''''''o''''''''nt'''' ''''''''''''7''8''''''''''7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8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224" name="Groupe 223">
            <a:extLst>
              <a:ext uri="{FF2B5EF4-FFF2-40B4-BE49-F238E27FC236}">
                <a16:creationId xmlns:a16="http://schemas.microsoft.com/office/drawing/2014/main" id="{E0E45818-B40E-4631-B714-2C9F181FC426}"/>
              </a:ext>
            </a:extLst>
          </p:cNvPr>
          <p:cNvGrpSpPr>
            <a:grpSpLocks/>
          </p:cNvGrpSpPr>
          <p:nvPr/>
        </p:nvGrpSpPr>
        <p:grpSpPr>
          <a:xfrm>
            <a:off x="3381043" y="3587751"/>
            <a:ext cx="1188000" cy="231775"/>
            <a:chOff x="666509" y="3568700"/>
            <a:chExt cx="1188215" cy="231775"/>
          </a:xfrm>
        </p:grpSpPr>
        <p:sp>
          <p:nvSpPr>
            <p:cNvPr id="233" name="ZoneTexte 232">
              <a:extLst>
                <a:ext uri="{FF2B5EF4-FFF2-40B4-BE49-F238E27FC236}">
                  <a16:creationId xmlns:a16="http://schemas.microsoft.com/office/drawing/2014/main" id="{724B377D-C72C-41E1-87C6-B1331121494C}"/>
                </a:ext>
              </a:extLst>
            </p:cNvPr>
            <p:cNvSpPr txBox="1"/>
            <p:nvPr/>
          </p:nvSpPr>
          <p:spPr>
            <a:xfrm>
              <a:off x="871768" y="3568700"/>
              <a:ext cx="777698" cy="23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0</a:t>
              </a:r>
            </a:p>
          </p:txBody>
        </p:sp>
        <p:cxnSp>
          <p:nvCxnSpPr>
            <p:cNvPr id="234" name="Connecteur droit 233">
              <a:extLst>
                <a:ext uri="{FF2B5EF4-FFF2-40B4-BE49-F238E27FC236}">
                  <a16:creationId xmlns:a16="http://schemas.microsoft.com/office/drawing/2014/main" id="{FC4E85DB-0484-4A71-87F1-67F87994B7D1}"/>
                </a:ext>
              </a:extLst>
            </p:cNvPr>
            <p:cNvCxnSpPr>
              <a:cxnSpLocks/>
            </p:cNvCxnSpPr>
            <p:nvPr/>
          </p:nvCxnSpPr>
          <p:spPr>
            <a:xfrm>
              <a:off x="666509" y="3579099"/>
              <a:ext cx="1188215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6" name="Image 225">
            <a:extLst>
              <a:ext uri="{FF2B5EF4-FFF2-40B4-BE49-F238E27FC236}">
                <a16:creationId xmlns:a16="http://schemas.microsoft.com/office/drawing/2014/main" id="{E5904904-D88F-4CF1-9C77-B7E09E7CCC4B}"/>
              </a:ext>
            </a:extLst>
          </p:cNvPr>
          <p:cNvPicPr>
            <a:picLocks/>
          </p:cNvPicPr>
          <p:nvPr/>
        </p:nvPicPr>
        <p:blipFill rotWithShape="1">
          <a:blip r:embed="rId97"/>
          <a:srcRect t="63342"/>
          <a:stretch/>
        </p:blipFill>
        <p:spPr>
          <a:xfrm>
            <a:off x="3154363" y="3851578"/>
            <a:ext cx="684084" cy="166688"/>
          </a:xfrm>
          <a:prstGeom prst="rect">
            <a:avLst/>
          </a:prstGeom>
        </p:spPr>
      </p:pic>
      <p:pic>
        <p:nvPicPr>
          <p:cNvPr id="235" name="Image 234">
            <a:extLst>
              <a:ext uri="{FF2B5EF4-FFF2-40B4-BE49-F238E27FC236}">
                <a16:creationId xmlns:a16="http://schemas.microsoft.com/office/drawing/2014/main" id="{220EB096-C32C-4AF7-B8C4-9BEADBE025D0}"/>
              </a:ext>
            </a:extLst>
          </p:cNvPr>
          <p:cNvPicPr>
            <a:picLocks/>
          </p:cNvPicPr>
          <p:nvPr/>
        </p:nvPicPr>
        <p:blipFill>
          <a:blip r:embed="rId96"/>
          <a:stretch>
            <a:fillRect/>
          </a:stretch>
        </p:blipFill>
        <p:spPr>
          <a:xfrm>
            <a:off x="3176588" y="1239838"/>
            <a:ext cx="684213" cy="455613"/>
          </a:xfrm>
          <a:prstGeom prst="rect">
            <a:avLst/>
          </a:prstGeom>
        </p:spPr>
      </p:pic>
      <p:sp>
        <p:nvSpPr>
          <p:cNvPr id="260" name="Rectangle 259">
            <a:extLst>
              <a:ext uri="{FF2B5EF4-FFF2-40B4-BE49-F238E27FC236}">
                <a16:creationId xmlns:a16="http://schemas.microsoft.com/office/drawing/2014/main" id="{EC730ABB-01FC-4F7B-BC43-D750336F74D7}"/>
              </a:ext>
            </a:extLst>
          </p:cNvPr>
          <p:cNvSpPr/>
          <p:nvPr/>
        </p:nvSpPr>
        <p:spPr>
          <a:xfrm>
            <a:off x="6895431" y="3724391"/>
            <a:ext cx="5125119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io</a:t>
            </a:r>
            <a:r>
              <a:rPr lang="fr-FR" sz="1400" b="1" kern="0" dirty="0">
                <a:solidFill>
                  <a:schemeClr val="bg1"/>
                </a:solidFill>
                <a:latin typeface="Calibri"/>
              </a:rPr>
              <a:t>ns produits &amp;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on-livrés YTD</a:t>
            </a:r>
          </a:p>
        </p:txBody>
      </p:sp>
      <p:sp>
        <p:nvSpPr>
          <p:cNvPr id="261" name="TextBox 26">
            <a:extLst>
              <a:ext uri="{FF2B5EF4-FFF2-40B4-BE49-F238E27FC236}">
                <a16:creationId xmlns:a16="http://schemas.microsoft.com/office/drawing/2014/main" id="{A10A4420-66C8-42DE-82D1-BEFFB2419C97}"/>
              </a:ext>
            </a:extLst>
          </p:cNvPr>
          <p:cNvSpPr txBox="1"/>
          <p:nvPr/>
        </p:nvSpPr>
        <p:spPr>
          <a:xfrm>
            <a:off x="1225550" y="4241106"/>
            <a:ext cx="1163638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 932</a:t>
            </a:r>
          </a:p>
        </p:txBody>
      </p:sp>
      <p:sp>
        <p:nvSpPr>
          <p:cNvPr id="262" name="TextBox 26">
            <a:extLst>
              <a:ext uri="{FF2B5EF4-FFF2-40B4-BE49-F238E27FC236}">
                <a16:creationId xmlns:a16="http://schemas.microsoft.com/office/drawing/2014/main" id="{37A8C09C-710F-48E5-AF07-424C5D583BDF}"/>
              </a:ext>
            </a:extLst>
          </p:cNvPr>
          <p:cNvSpPr txBox="1"/>
          <p:nvPr/>
        </p:nvSpPr>
        <p:spPr>
          <a:xfrm>
            <a:off x="1981200" y="4350644"/>
            <a:ext cx="1163638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252</a:t>
            </a:r>
          </a:p>
        </p:txBody>
      </p:sp>
      <p:sp>
        <p:nvSpPr>
          <p:cNvPr id="263" name="TextBox 26">
            <a:extLst>
              <a:ext uri="{FF2B5EF4-FFF2-40B4-BE49-F238E27FC236}">
                <a16:creationId xmlns:a16="http://schemas.microsoft.com/office/drawing/2014/main" id="{54604176-CFA7-41D5-BE94-A3AE78B7F4C2}"/>
              </a:ext>
            </a:extLst>
          </p:cNvPr>
          <p:cNvSpPr txBox="1"/>
          <p:nvPr/>
        </p:nvSpPr>
        <p:spPr>
          <a:xfrm>
            <a:off x="1195387" y="5358706"/>
            <a:ext cx="1163638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 071</a:t>
            </a:r>
          </a:p>
        </p:txBody>
      </p:sp>
      <p:sp>
        <p:nvSpPr>
          <p:cNvPr id="264" name="TextBox 26">
            <a:extLst>
              <a:ext uri="{FF2B5EF4-FFF2-40B4-BE49-F238E27FC236}">
                <a16:creationId xmlns:a16="http://schemas.microsoft.com/office/drawing/2014/main" id="{E165D15C-4633-4830-B94D-6C1F5067BE22}"/>
              </a:ext>
            </a:extLst>
          </p:cNvPr>
          <p:cNvSpPr txBox="1"/>
          <p:nvPr/>
        </p:nvSpPr>
        <p:spPr>
          <a:xfrm>
            <a:off x="1951037" y="5468244"/>
            <a:ext cx="1163638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74</a:t>
            </a:r>
          </a:p>
        </p:txBody>
      </p:sp>
      <p:pic>
        <p:nvPicPr>
          <p:cNvPr id="265" name="Image 264">
            <a:extLst>
              <a:ext uri="{FF2B5EF4-FFF2-40B4-BE49-F238E27FC236}">
                <a16:creationId xmlns:a16="http://schemas.microsoft.com/office/drawing/2014/main" id="{5B0D0375-7556-4333-AD89-10E3CDB44481}"/>
              </a:ext>
            </a:extLst>
          </p:cNvPr>
          <p:cNvPicPr>
            <a:picLocks noChangeAspect="1"/>
          </p:cNvPicPr>
          <p:nvPr/>
        </p:nvPicPr>
        <p:blipFill>
          <a:blip r:embed="rId97"/>
          <a:stretch>
            <a:fillRect/>
          </a:stretch>
        </p:blipFill>
        <p:spPr>
          <a:xfrm>
            <a:off x="293687" y="5282505"/>
            <a:ext cx="1069975" cy="504874"/>
          </a:xfrm>
          <a:prstGeom prst="rect">
            <a:avLst/>
          </a:prstGeom>
        </p:spPr>
      </p:pic>
      <p:pic>
        <p:nvPicPr>
          <p:cNvPr id="266" name="Image 265">
            <a:extLst>
              <a:ext uri="{FF2B5EF4-FFF2-40B4-BE49-F238E27FC236}">
                <a16:creationId xmlns:a16="http://schemas.microsoft.com/office/drawing/2014/main" id="{D9C302AC-93BF-45BC-ABEA-BA155C880603}"/>
              </a:ext>
            </a:extLst>
          </p:cNvPr>
          <p:cNvPicPr>
            <a:picLocks noChangeAspect="1"/>
          </p:cNvPicPr>
          <p:nvPr/>
        </p:nvPicPr>
        <p:blipFill>
          <a:blip r:embed="rId96"/>
          <a:stretch>
            <a:fillRect/>
          </a:stretch>
        </p:blipFill>
        <p:spPr>
          <a:xfrm>
            <a:off x="236537" y="4203007"/>
            <a:ext cx="1060450" cy="706277"/>
          </a:xfrm>
          <a:prstGeom prst="rect">
            <a:avLst/>
          </a:prstGeom>
        </p:spPr>
      </p:pic>
      <p:sp>
        <p:nvSpPr>
          <p:cNvPr id="268" name="ZoneTexte 267">
            <a:extLst>
              <a:ext uri="{FF2B5EF4-FFF2-40B4-BE49-F238E27FC236}">
                <a16:creationId xmlns:a16="http://schemas.microsoft.com/office/drawing/2014/main" id="{6A2D1725-9C14-496A-BCDA-9B2E63233BDD}"/>
              </a:ext>
            </a:extLst>
          </p:cNvPr>
          <p:cNvSpPr txBox="1"/>
          <p:nvPr/>
        </p:nvSpPr>
        <p:spPr>
          <a:xfrm>
            <a:off x="2011578" y="6212143"/>
            <a:ext cx="10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187" name="ZoneTexte 186">
            <a:extLst>
              <a:ext uri="{FF2B5EF4-FFF2-40B4-BE49-F238E27FC236}">
                <a16:creationId xmlns:a16="http://schemas.microsoft.com/office/drawing/2014/main" id="{2BBCB42D-7904-4000-802F-1AF38302679F}"/>
              </a:ext>
            </a:extLst>
          </p:cNvPr>
          <p:cNvSpPr txBox="1"/>
          <p:nvPr/>
        </p:nvSpPr>
        <p:spPr>
          <a:xfrm>
            <a:off x="5791049" y="6247859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123C9CD-0DB3-4CF8-A58B-E9B01F7752F7}"/>
              </a:ext>
            </a:extLst>
          </p:cNvPr>
          <p:cNvSpPr txBox="1"/>
          <p:nvPr/>
        </p:nvSpPr>
        <p:spPr>
          <a:xfrm>
            <a:off x="7371972" y="1457161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76" name="ZoneTexte 275">
            <a:extLst>
              <a:ext uri="{FF2B5EF4-FFF2-40B4-BE49-F238E27FC236}">
                <a16:creationId xmlns:a16="http://schemas.microsoft.com/office/drawing/2014/main" id="{F0E35A8C-6FA8-4F3C-8269-002FD9ACF97E}"/>
              </a:ext>
            </a:extLst>
          </p:cNvPr>
          <p:cNvSpPr txBox="1"/>
          <p:nvPr/>
        </p:nvSpPr>
        <p:spPr>
          <a:xfrm>
            <a:off x="8471658" y="1457161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</a:t>
            </a:r>
          </a:p>
        </p:txBody>
      </p:sp>
      <p:sp>
        <p:nvSpPr>
          <p:cNvPr id="277" name="ZoneTexte 276">
            <a:extLst>
              <a:ext uri="{FF2B5EF4-FFF2-40B4-BE49-F238E27FC236}">
                <a16:creationId xmlns:a16="http://schemas.microsoft.com/office/drawing/2014/main" id="{5FC510A5-37A9-4F76-974D-7679B28FABBD}"/>
              </a:ext>
            </a:extLst>
          </p:cNvPr>
          <p:cNvSpPr txBox="1"/>
          <p:nvPr/>
        </p:nvSpPr>
        <p:spPr>
          <a:xfrm>
            <a:off x="9941044" y="1454395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78" name="ZoneTexte 277">
            <a:extLst>
              <a:ext uri="{FF2B5EF4-FFF2-40B4-BE49-F238E27FC236}">
                <a16:creationId xmlns:a16="http://schemas.microsoft.com/office/drawing/2014/main" id="{EC78708A-7225-4B28-BF64-1C278245839A}"/>
              </a:ext>
            </a:extLst>
          </p:cNvPr>
          <p:cNvSpPr txBox="1"/>
          <p:nvPr/>
        </p:nvSpPr>
        <p:spPr>
          <a:xfrm>
            <a:off x="10915972" y="1449776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</a:t>
            </a:r>
          </a:p>
        </p:txBody>
      </p:sp>
      <p:pic>
        <p:nvPicPr>
          <p:cNvPr id="330" name="Image 329">
            <a:extLst>
              <a:ext uri="{FF2B5EF4-FFF2-40B4-BE49-F238E27FC236}">
                <a16:creationId xmlns:a16="http://schemas.microsoft.com/office/drawing/2014/main" id="{7291A2C6-1F44-433E-8D67-8E5FDED700D8}"/>
              </a:ext>
            </a:extLst>
          </p:cNvPr>
          <p:cNvPicPr>
            <a:picLocks/>
          </p:cNvPicPr>
          <p:nvPr/>
        </p:nvPicPr>
        <p:blipFill>
          <a:blip r:embed="rId96"/>
          <a:stretch>
            <a:fillRect/>
          </a:stretch>
        </p:blipFill>
        <p:spPr>
          <a:xfrm>
            <a:off x="8139111" y="6020593"/>
            <a:ext cx="684213" cy="455613"/>
          </a:xfrm>
          <a:prstGeom prst="rect">
            <a:avLst/>
          </a:prstGeom>
        </p:spPr>
      </p:pic>
      <p:pic>
        <p:nvPicPr>
          <p:cNvPr id="331" name="Image 330">
            <a:extLst>
              <a:ext uri="{FF2B5EF4-FFF2-40B4-BE49-F238E27FC236}">
                <a16:creationId xmlns:a16="http://schemas.microsoft.com/office/drawing/2014/main" id="{07776989-3012-448A-B792-6035EC30C0C7}"/>
              </a:ext>
            </a:extLst>
          </p:cNvPr>
          <p:cNvPicPr>
            <a:picLocks/>
          </p:cNvPicPr>
          <p:nvPr/>
        </p:nvPicPr>
        <p:blipFill rotWithShape="1">
          <a:blip r:embed="rId97"/>
          <a:srcRect t="63342"/>
          <a:stretch/>
        </p:blipFill>
        <p:spPr>
          <a:xfrm>
            <a:off x="10514013" y="6188049"/>
            <a:ext cx="684213" cy="16668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0F248677-2B3B-4D33-8092-A63747D709D5}"/>
              </a:ext>
            </a:extLst>
          </p:cNvPr>
          <p:cNvSpPr txBox="1"/>
          <p:nvPr/>
        </p:nvSpPr>
        <p:spPr>
          <a:xfrm>
            <a:off x="7096524" y="5463000"/>
            <a:ext cx="3683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55" name="ZoneTexte 354">
            <a:extLst>
              <a:ext uri="{FF2B5EF4-FFF2-40B4-BE49-F238E27FC236}">
                <a16:creationId xmlns:a16="http://schemas.microsoft.com/office/drawing/2014/main" id="{C1E61069-C8CA-4019-A975-62D182A8B9CC}"/>
              </a:ext>
            </a:extLst>
          </p:cNvPr>
          <p:cNvSpPr txBox="1"/>
          <p:nvPr/>
        </p:nvSpPr>
        <p:spPr>
          <a:xfrm>
            <a:off x="7830345" y="4388907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2)</a:t>
            </a:r>
          </a:p>
        </p:txBody>
      </p:sp>
      <p:sp>
        <p:nvSpPr>
          <p:cNvPr id="357" name="ZoneTexte 356">
            <a:extLst>
              <a:ext uri="{FF2B5EF4-FFF2-40B4-BE49-F238E27FC236}">
                <a16:creationId xmlns:a16="http://schemas.microsoft.com/office/drawing/2014/main" id="{4250E03D-4363-4E0A-85E5-48B3FEE56E02}"/>
              </a:ext>
            </a:extLst>
          </p:cNvPr>
          <p:cNvSpPr txBox="1"/>
          <p:nvPr/>
        </p:nvSpPr>
        <p:spPr>
          <a:xfrm>
            <a:off x="8190709" y="4158190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3)</a:t>
            </a:r>
          </a:p>
        </p:txBody>
      </p:sp>
      <p:sp>
        <p:nvSpPr>
          <p:cNvPr id="358" name="ZoneTexte 357">
            <a:extLst>
              <a:ext uri="{FF2B5EF4-FFF2-40B4-BE49-F238E27FC236}">
                <a16:creationId xmlns:a16="http://schemas.microsoft.com/office/drawing/2014/main" id="{9C34914F-1284-4D25-9932-A77D91B995E9}"/>
              </a:ext>
            </a:extLst>
          </p:cNvPr>
          <p:cNvSpPr txBox="1"/>
          <p:nvPr/>
        </p:nvSpPr>
        <p:spPr>
          <a:xfrm>
            <a:off x="7430297" y="4675718"/>
            <a:ext cx="4337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10)</a:t>
            </a:r>
          </a:p>
        </p:txBody>
      </p:sp>
      <p:sp>
        <p:nvSpPr>
          <p:cNvPr id="359" name="ZoneTexte 358">
            <a:extLst>
              <a:ext uri="{FF2B5EF4-FFF2-40B4-BE49-F238E27FC236}">
                <a16:creationId xmlns:a16="http://schemas.microsoft.com/office/drawing/2014/main" id="{B17A55F9-3C90-4D02-B1A7-69898512B1A2}"/>
              </a:ext>
            </a:extLst>
          </p:cNvPr>
          <p:cNvSpPr txBox="1"/>
          <p:nvPr/>
        </p:nvSpPr>
        <p:spPr>
          <a:xfrm>
            <a:off x="8560598" y="4100436"/>
            <a:ext cx="368300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0" name="ZoneTexte 359">
            <a:extLst>
              <a:ext uri="{FF2B5EF4-FFF2-40B4-BE49-F238E27FC236}">
                <a16:creationId xmlns:a16="http://schemas.microsoft.com/office/drawing/2014/main" id="{19196A2D-C978-4BD8-9E36-35CF1698960A}"/>
              </a:ext>
            </a:extLst>
          </p:cNvPr>
          <p:cNvSpPr txBox="1"/>
          <p:nvPr/>
        </p:nvSpPr>
        <p:spPr>
          <a:xfrm>
            <a:off x="9589032" y="4516443"/>
            <a:ext cx="437892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3)</a:t>
            </a:r>
          </a:p>
        </p:txBody>
      </p:sp>
      <p:sp>
        <p:nvSpPr>
          <p:cNvPr id="361" name="ZoneTexte 360">
            <a:extLst>
              <a:ext uri="{FF2B5EF4-FFF2-40B4-BE49-F238E27FC236}">
                <a16:creationId xmlns:a16="http://schemas.microsoft.com/office/drawing/2014/main" id="{F5E423ED-6FCC-414B-84A6-82A4C6F9788A}"/>
              </a:ext>
            </a:extLst>
          </p:cNvPr>
          <p:cNvSpPr txBox="1"/>
          <p:nvPr/>
        </p:nvSpPr>
        <p:spPr>
          <a:xfrm>
            <a:off x="10001786" y="4438655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2" name="ZoneTexte 361">
            <a:extLst>
              <a:ext uri="{FF2B5EF4-FFF2-40B4-BE49-F238E27FC236}">
                <a16:creationId xmlns:a16="http://schemas.microsoft.com/office/drawing/2014/main" id="{A6114E1E-91F5-478D-949C-061199671015}"/>
              </a:ext>
            </a:extLst>
          </p:cNvPr>
          <p:cNvSpPr txBox="1"/>
          <p:nvPr/>
        </p:nvSpPr>
        <p:spPr>
          <a:xfrm>
            <a:off x="10373521" y="4382560"/>
            <a:ext cx="368300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-1)</a:t>
            </a:r>
          </a:p>
        </p:txBody>
      </p:sp>
      <p:sp>
        <p:nvSpPr>
          <p:cNvPr id="363" name="ZoneTexte 362">
            <a:extLst>
              <a:ext uri="{FF2B5EF4-FFF2-40B4-BE49-F238E27FC236}">
                <a16:creationId xmlns:a16="http://schemas.microsoft.com/office/drawing/2014/main" id="{1EE6DD91-8F5D-4718-8FF9-03E431B13210}"/>
              </a:ext>
            </a:extLst>
          </p:cNvPr>
          <p:cNvSpPr txBox="1"/>
          <p:nvPr/>
        </p:nvSpPr>
        <p:spPr>
          <a:xfrm>
            <a:off x="10698162" y="4337583"/>
            <a:ext cx="4378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4" name="ZoneTexte 363">
            <a:extLst>
              <a:ext uri="{FF2B5EF4-FFF2-40B4-BE49-F238E27FC236}">
                <a16:creationId xmlns:a16="http://schemas.microsoft.com/office/drawing/2014/main" id="{A74B8A5E-C0E5-4919-BF72-E9ADB9693DF2}"/>
              </a:ext>
            </a:extLst>
          </p:cNvPr>
          <p:cNvSpPr txBox="1"/>
          <p:nvPr/>
        </p:nvSpPr>
        <p:spPr>
          <a:xfrm>
            <a:off x="11063290" y="4153301"/>
            <a:ext cx="4714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5" name="ZoneTexte 364">
            <a:extLst>
              <a:ext uri="{FF2B5EF4-FFF2-40B4-BE49-F238E27FC236}">
                <a16:creationId xmlns:a16="http://schemas.microsoft.com/office/drawing/2014/main" id="{7950B871-6B59-452A-B8F1-129A33AC9478}"/>
              </a:ext>
            </a:extLst>
          </p:cNvPr>
          <p:cNvSpPr txBox="1"/>
          <p:nvPr/>
        </p:nvSpPr>
        <p:spPr>
          <a:xfrm>
            <a:off x="11381127" y="4017333"/>
            <a:ext cx="5635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2)</a:t>
            </a:r>
          </a:p>
        </p:txBody>
      </p:sp>
      <p:sp>
        <p:nvSpPr>
          <p:cNvPr id="366" name="ZoneTexte 365">
            <a:extLst>
              <a:ext uri="{FF2B5EF4-FFF2-40B4-BE49-F238E27FC236}">
                <a16:creationId xmlns:a16="http://schemas.microsoft.com/office/drawing/2014/main" id="{886E17A4-5421-4A86-A1AE-1A457E232E50}"/>
              </a:ext>
            </a:extLst>
          </p:cNvPr>
          <p:cNvSpPr txBox="1"/>
          <p:nvPr/>
        </p:nvSpPr>
        <p:spPr>
          <a:xfrm>
            <a:off x="8836024" y="4017333"/>
            <a:ext cx="5905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15)</a:t>
            </a:r>
          </a:p>
        </p:txBody>
      </p:sp>
      <p:sp>
        <p:nvSpPr>
          <p:cNvPr id="241" name="ZoneTexte 240">
            <a:extLst>
              <a:ext uri="{FF2B5EF4-FFF2-40B4-BE49-F238E27FC236}">
                <a16:creationId xmlns:a16="http://schemas.microsoft.com/office/drawing/2014/main" id="{60E0184D-3E44-45FF-8DCD-30320905649A}"/>
              </a:ext>
            </a:extLst>
          </p:cNvPr>
          <p:cNvSpPr txBox="1"/>
          <p:nvPr/>
        </p:nvSpPr>
        <p:spPr>
          <a:xfrm>
            <a:off x="10916557" y="6257839"/>
            <a:ext cx="117387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estimations </a:t>
            </a:r>
            <a:r>
              <a:rPr lang="fr-FR" sz="600" dirty="0" err="1">
                <a:solidFill>
                  <a:schemeClr val="tx2"/>
                </a:solidFill>
              </a:rPr>
              <a:t>inernes</a:t>
            </a:r>
            <a:endParaRPr lang="fr-FR" sz="600" dirty="0">
              <a:solidFill>
                <a:schemeClr val="tx2"/>
              </a:solidFill>
            </a:endParaRPr>
          </a:p>
        </p:txBody>
      </p:sp>
      <p:sp>
        <p:nvSpPr>
          <p:cNvPr id="242" name="ZoneTexte 241">
            <a:extLst>
              <a:ext uri="{FF2B5EF4-FFF2-40B4-BE49-F238E27FC236}">
                <a16:creationId xmlns:a16="http://schemas.microsoft.com/office/drawing/2014/main" id="{CDC85699-793F-4A70-B9B6-9D55CF5F68E1}"/>
              </a:ext>
            </a:extLst>
          </p:cNvPr>
          <p:cNvSpPr txBox="1"/>
          <p:nvPr/>
        </p:nvSpPr>
        <p:spPr>
          <a:xfrm>
            <a:off x="11059746" y="3495791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0D795AFA-2D29-4CAE-B26D-3434FEF16F46}"/>
              </a:ext>
            </a:extLst>
          </p:cNvPr>
          <p:cNvGrpSpPr/>
          <p:nvPr/>
        </p:nvGrpSpPr>
        <p:grpSpPr>
          <a:xfrm>
            <a:off x="4689114" y="3579760"/>
            <a:ext cx="2016000" cy="230832"/>
            <a:chOff x="4945753" y="3579760"/>
            <a:chExt cx="1764000" cy="230832"/>
          </a:xfrm>
        </p:grpSpPr>
        <p:sp>
          <p:nvSpPr>
            <p:cNvPr id="247" name="ZoneTexte 246">
              <a:extLst>
                <a:ext uri="{FF2B5EF4-FFF2-40B4-BE49-F238E27FC236}">
                  <a16:creationId xmlns:a16="http://schemas.microsoft.com/office/drawing/2014/main" id="{773A6194-CB64-46DA-B1B7-4472C2143038}"/>
                </a:ext>
              </a:extLst>
            </p:cNvPr>
            <p:cNvSpPr txBox="1"/>
            <p:nvPr/>
          </p:nvSpPr>
          <p:spPr>
            <a:xfrm>
              <a:off x="5622792" y="3579760"/>
              <a:ext cx="4187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1</a:t>
              </a:r>
            </a:p>
          </p:txBody>
        </p:sp>
        <p:cxnSp>
          <p:nvCxnSpPr>
            <p:cNvPr id="245" name="Connecteur droit 244">
              <a:extLst>
                <a:ext uri="{FF2B5EF4-FFF2-40B4-BE49-F238E27FC236}">
                  <a16:creationId xmlns:a16="http://schemas.microsoft.com/office/drawing/2014/main" id="{AFDB29DF-5506-4336-A5B9-B7DDA77D3DDB}"/>
                </a:ext>
              </a:extLst>
            </p:cNvPr>
            <p:cNvCxnSpPr/>
            <p:nvPr/>
          </p:nvCxnSpPr>
          <p:spPr>
            <a:xfrm>
              <a:off x="4945753" y="3598149"/>
              <a:ext cx="176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9" name="Groupe 228">
            <a:extLst>
              <a:ext uri="{FF2B5EF4-FFF2-40B4-BE49-F238E27FC236}">
                <a16:creationId xmlns:a16="http://schemas.microsoft.com/office/drawing/2014/main" id="{4678577A-595B-4BD2-BFDA-E3C55655BA28}"/>
              </a:ext>
            </a:extLst>
          </p:cNvPr>
          <p:cNvGrpSpPr>
            <a:grpSpLocks/>
          </p:cNvGrpSpPr>
          <p:nvPr/>
        </p:nvGrpSpPr>
        <p:grpSpPr>
          <a:xfrm>
            <a:off x="3403223" y="6101260"/>
            <a:ext cx="1188000" cy="231775"/>
            <a:chOff x="666509" y="3568700"/>
            <a:chExt cx="1188215" cy="231775"/>
          </a:xfrm>
        </p:grpSpPr>
        <p:sp>
          <p:nvSpPr>
            <p:cNvPr id="243" name="ZoneTexte 242">
              <a:extLst>
                <a:ext uri="{FF2B5EF4-FFF2-40B4-BE49-F238E27FC236}">
                  <a16:creationId xmlns:a16="http://schemas.microsoft.com/office/drawing/2014/main" id="{237C0E01-5491-432C-9A90-A8DD9A803B2E}"/>
                </a:ext>
              </a:extLst>
            </p:cNvPr>
            <p:cNvSpPr txBox="1"/>
            <p:nvPr/>
          </p:nvSpPr>
          <p:spPr>
            <a:xfrm>
              <a:off x="871768" y="3568700"/>
              <a:ext cx="777698" cy="23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0</a:t>
              </a:r>
            </a:p>
          </p:txBody>
        </p:sp>
        <p:cxnSp>
          <p:nvCxnSpPr>
            <p:cNvPr id="249" name="Connecteur droit 248">
              <a:extLst>
                <a:ext uri="{FF2B5EF4-FFF2-40B4-BE49-F238E27FC236}">
                  <a16:creationId xmlns:a16="http://schemas.microsoft.com/office/drawing/2014/main" id="{81044297-E5A8-4C35-8276-DEDF63A3C48A}"/>
                </a:ext>
              </a:extLst>
            </p:cNvPr>
            <p:cNvCxnSpPr>
              <a:cxnSpLocks/>
            </p:cNvCxnSpPr>
            <p:nvPr/>
          </p:nvCxnSpPr>
          <p:spPr>
            <a:xfrm>
              <a:off x="666509" y="3579099"/>
              <a:ext cx="1188215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4" name="Groupe 253">
            <a:extLst>
              <a:ext uri="{FF2B5EF4-FFF2-40B4-BE49-F238E27FC236}">
                <a16:creationId xmlns:a16="http://schemas.microsoft.com/office/drawing/2014/main" id="{36153FEC-DBF3-4B87-8626-601C30E4AAF3}"/>
              </a:ext>
            </a:extLst>
          </p:cNvPr>
          <p:cNvGrpSpPr/>
          <p:nvPr/>
        </p:nvGrpSpPr>
        <p:grpSpPr>
          <a:xfrm>
            <a:off x="4711294" y="6093269"/>
            <a:ext cx="2016000" cy="230832"/>
            <a:chOff x="4945753" y="3579760"/>
            <a:chExt cx="1764000" cy="230832"/>
          </a:xfrm>
        </p:grpSpPr>
        <p:sp>
          <p:nvSpPr>
            <p:cNvPr id="255" name="ZoneTexte 254">
              <a:extLst>
                <a:ext uri="{FF2B5EF4-FFF2-40B4-BE49-F238E27FC236}">
                  <a16:creationId xmlns:a16="http://schemas.microsoft.com/office/drawing/2014/main" id="{8F6E631F-68C3-409A-9DAF-2F5C744333B7}"/>
                </a:ext>
              </a:extLst>
            </p:cNvPr>
            <p:cNvSpPr txBox="1"/>
            <p:nvPr/>
          </p:nvSpPr>
          <p:spPr>
            <a:xfrm>
              <a:off x="5622792" y="3579760"/>
              <a:ext cx="4187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1</a:t>
              </a:r>
            </a:p>
          </p:txBody>
        </p:sp>
        <p:cxnSp>
          <p:nvCxnSpPr>
            <p:cNvPr id="256" name="Connecteur droit 255">
              <a:extLst>
                <a:ext uri="{FF2B5EF4-FFF2-40B4-BE49-F238E27FC236}">
                  <a16:creationId xmlns:a16="http://schemas.microsoft.com/office/drawing/2014/main" id="{C2FE7639-A5B3-41CC-BF86-4965D97C6EDF}"/>
                </a:ext>
              </a:extLst>
            </p:cNvPr>
            <p:cNvCxnSpPr/>
            <p:nvPr/>
          </p:nvCxnSpPr>
          <p:spPr>
            <a:xfrm>
              <a:off x="4945753" y="3598149"/>
              <a:ext cx="176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5D03E258-852E-41C6-A6E6-DDC6914F81E3}"/>
              </a:ext>
            </a:extLst>
          </p:cNvPr>
          <p:cNvSpPr/>
          <p:nvPr/>
        </p:nvSpPr>
        <p:spPr>
          <a:xfrm>
            <a:off x="182563" y="1296013"/>
            <a:ext cx="2809875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7" name="ZoneTexte 266">
            <a:extLst>
              <a:ext uri="{FF2B5EF4-FFF2-40B4-BE49-F238E27FC236}">
                <a16:creationId xmlns:a16="http://schemas.microsoft.com/office/drawing/2014/main" id="{C49FCF00-D4FB-49DD-81EA-E4E96B6CD637}"/>
              </a:ext>
            </a:extLst>
          </p:cNvPr>
          <p:cNvSpPr txBox="1"/>
          <p:nvPr/>
        </p:nvSpPr>
        <p:spPr>
          <a:xfrm>
            <a:off x="2042227" y="3480842"/>
            <a:ext cx="10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pic>
        <p:nvPicPr>
          <p:cNvPr id="273" name="Image 272">
            <a:extLst>
              <a:ext uri="{FF2B5EF4-FFF2-40B4-BE49-F238E27FC236}">
                <a16:creationId xmlns:a16="http://schemas.microsoft.com/office/drawing/2014/main" id="{3183903A-232E-4403-9435-C409F6B2FB05}"/>
              </a:ext>
            </a:extLst>
          </p:cNvPr>
          <p:cNvPicPr>
            <a:picLocks/>
          </p:cNvPicPr>
          <p:nvPr/>
        </p:nvPicPr>
        <p:blipFill rotWithShape="1">
          <a:blip r:embed="rId97"/>
          <a:srcRect t="63342"/>
          <a:stretch/>
        </p:blipFill>
        <p:spPr>
          <a:xfrm>
            <a:off x="2200285" y="1373854"/>
            <a:ext cx="571643" cy="168301"/>
          </a:xfrm>
          <a:prstGeom prst="rect">
            <a:avLst/>
          </a:prstGeom>
        </p:spPr>
      </p:pic>
      <p:pic>
        <p:nvPicPr>
          <p:cNvPr id="274" name="Image 273">
            <a:extLst>
              <a:ext uri="{FF2B5EF4-FFF2-40B4-BE49-F238E27FC236}">
                <a16:creationId xmlns:a16="http://schemas.microsoft.com/office/drawing/2014/main" id="{F522400D-D672-4F8A-B425-4DD291EE6AD4}"/>
              </a:ext>
            </a:extLst>
          </p:cNvPr>
          <p:cNvPicPr>
            <a:picLocks noChangeAspect="1"/>
          </p:cNvPicPr>
          <p:nvPr/>
        </p:nvPicPr>
        <p:blipFill>
          <a:blip r:embed="rId96"/>
          <a:stretch>
            <a:fillRect/>
          </a:stretch>
        </p:blipFill>
        <p:spPr>
          <a:xfrm>
            <a:off x="1052273" y="1237249"/>
            <a:ext cx="646571" cy="430628"/>
          </a:xfrm>
          <a:prstGeom prst="rect">
            <a:avLst/>
          </a:prstGeom>
        </p:spPr>
      </p:pic>
      <p:sp>
        <p:nvSpPr>
          <p:cNvPr id="275" name="ZoneTexte 274">
            <a:extLst>
              <a:ext uri="{FF2B5EF4-FFF2-40B4-BE49-F238E27FC236}">
                <a16:creationId xmlns:a16="http://schemas.microsoft.com/office/drawing/2014/main" id="{F0A72C28-CB29-4FEA-85F5-C8445BB9BCEB}"/>
              </a:ext>
            </a:extLst>
          </p:cNvPr>
          <p:cNvSpPr txBox="1"/>
          <p:nvPr/>
        </p:nvSpPr>
        <p:spPr>
          <a:xfrm>
            <a:off x="199830" y="1841462"/>
            <a:ext cx="69196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vraisons</a:t>
            </a:r>
          </a:p>
        </p:txBody>
      </p:sp>
      <p:sp>
        <p:nvSpPr>
          <p:cNvPr id="280" name="ZoneTexte 279">
            <a:extLst>
              <a:ext uri="{FF2B5EF4-FFF2-40B4-BE49-F238E27FC236}">
                <a16:creationId xmlns:a16="http://schemas.microsoft.com/office/drawing/2014/main" id="{C35AFC77-FE66-442F-89EC-28FA71755578}"/>
              </a:ext>
            </a:extLst>
          </p:cNvPr>
          <p:cNvSpPr txBox="1"/>
          <p:nvPr/>
        </p:nvSpPr>
        <p:spPr>
          <a:xfrm>
            <a:off x="218583" y="2159272"/>
            <a:ext cx="691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 brutes</a:t>
            </a:r>
          </a:p>
        </p:txBody>
      </p:sp>
      <p:sp>
        <p:nvSpPr>
          <p:cNvPr id="281" name="ZoneTexte 280">
            <a:extLst>
              <a:ext uri="{FF2B5EF4-FFF2-40B4-BE49-F238E27FC236}">
                <a16:creationId xmlns:a16="http://schemas.microsoft.com/office/drawing/2014/main" id="{EF8EA109-00D6-48C4-B00A-A14A08926E8D}"/>
              </a:ext>
            </a:extLst>
          </p:cNvPr>
          <p:cNvSpPr txBox="1"/>
          <p:nvPr/>
        </p:nvSpPr>
        <p:spPr>
          <a:xfrm>
            <a:off x="222254" y="2656140"/>
            <a:ext cx="69196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82" name="ZoneTexte 281">
            <a:extLst>
              <a:ext uri="{FF2B5EF4-FFF2-40B4-BE49-F238E27FC236}">
                <a16:creationId xmlns:a16="http://schemas.microsoft.com/office/drawing/2014/main" id="{1BA2E13E-34A9-444F-8511-93E90DF08A08}"/>
              </a:ext>
            </a:extLst>
          </p:cNvPr>
          <p:cNvSpPr txBox="1"/>
          <p:nvPr/>
        </p:nvSpPr>
        <p:spPr>
          <a:xfrm>
            <a:off x="196236" y="3004607"/>
            <a:ext cx="691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ions </a:t>
            </a:r>
          </a:p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stock</a:t>
            </a:r>
          </a:p>
        </p:txBody>
      </p:sp>
      <p:graphicFrame>
        <p:nvGraphicFramePr>
          <p:cNvPr id="298" name="Tableau 20">
            <a:extLst>
              <a:ext uri="{FF2B5EF4-FFF2-40B4-BE49-F238E27FC236}">
                <a16:creationId xmlns:a16="http://schemas.microsoft.com/office/drawing/2014/main" id="{D64DE84F-2B82-44CB-9B61-C15425C39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89121"/>
              </p:ext>
            </p:extLst>
          </p:nvPr>
        </p:nvGraphicFramePr>
        <p:xfrm>
          <a:off x="1042465" y="1673739"/>
          <a:ext cx="633361" cy="1701272"/>
        </p:xfrm>
        <a:graphic>
          <a:graphicData uri="http://schemas.openxmlformats.org/drawingml/2006/table">
            <a:tbl>
              <a:tblPr>
                <a:tableStyleId>{1FECB4D8-DB02-4DC6-A0A2-4F2EBAE1DC90}</a:tableStyleId>
              </a:tblPr>
              <a:tblGrid>
                <a:gridCol w="633361">
                  <a:extLst>
                    <a:ext uri="{9D8B030D-6E8A-4147-A177-3AD203B41FA5}">
                      <a16:colId xmlns:a16="http://schemas.microsoft.com/office/drawing/2014/main" val="2064618146"/>
                    </a:ext>
                  </a:extLst>
                </a:gridCol>
              </a:tblGrid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9391699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3324000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6985296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1722629"/>
                  </a:ext>
                </a:extLst>
              </a:tr>
            </a:tbl>
          </a:graphicData>
        </a:graphic>
      </p:graphicFrame>
      <p:graphicFrame>
        <p:nvGraphicFramePr>
          <p:cNvPr id="299" name="Tableau 20">
            <a:extLst>
              <a:ext uri="{FF2B5EF4-FFF2-40B4-BE49-F238E27FC236}">
                <a16:creationId xmlns:a16="http://schemas.microsoft.com/office/drawing/2014/main" id="{E6D899DD-271A-4BA2-B71A-FFD985AC47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1776956"/>
              </p:ext>
            </p:extLst>
          </p:nvPr>
        </p:nvGraphicFramePr>
        <p:xfrm>
          <a:off x="2124523" y="1686458"/>
          <a:ext cx="633361" cy="1701272"/>
        </p:xfrm>
        <a:graphic>
          <a:graphicData uri="http://schemas.openxmlformats.org/drawingml/2006/table">
            <a:tbl>
              <a:tblPr>
                <a:tableStyleId>{1FECB4D8-DB02-4DC6-A0A2-4F2EBAE1DC90}</a:tableStyleId>
              </a:tblPr>
              <a:tblGrid>
                <a:gridCol w="633361">
                  <a:extLst>
                    <a:ext uri="{9D8B030D-6E8A-4147-A177-3AD203B41FA5}">
                      <a16:colId xmlns:a16="http://schemas.microsoft.com/office/drawing/2014/main" val="2064618146"/>
                    </a:ext>
                  </a:extLst>
                </a:gridCol>
              </a:tblGrid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9391699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3324000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6985296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1722629"/>
                  </a:ext>
                </a:extLst>
              </a:tr>
            </a:tbl>
          </a:graphicData>
        </a:graphic>
      </p:graphicFrame>
      <p:cxnSp>
        <p:nvCxnSpPr>
          <p:cNvPr id="300" name="Connecteur droit 299">
            <a:extLst>
              <a:ext uri="{FF2B5EF4-FFF2-40B4-BE49-F238E27FC236}">
                <a16:creationId xmlns:a16="http://schemas.microsoft.com/office/drawing/2014/main" id="{49301923-45A2-4EFD-8E4B-5AD618109A8D}"/>
              </a:ext>
            </a:extLst>
          </p:cNvPr>
          <p:cNvCxnSpPr>
            <a:cxnSpLocks/>
          </p:cNvCxnSpPr>
          <p:nvPr/>
        </p:nvCxnSpPr>
        <p:spPr>
          <a:xfrm>
            <a:off x="1884211" y="1537138"/>
            <a:ext cx="0" cy="1798638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5" name="Graphique 304">
            <a:extLst>
              <a:ext uri="{FF2B5EF4-FFF2-40B4-BE49-F238E27FC236}">
                <a16:creationId xmlns:a16="http://schemas.microsoft.com/office/drawing/2014/main" id="{4A9F05B8-4C61-41AD-B6FE-012BC0EA6717}"/>
              </a:ext>
            </a:extLst>
          </p:cNvPr>
          <p:cNvGraphicFramePr>
            <a:graphicFrameLocks/>
          </p:cNvGraphicFramePr>
          <p:nvPr>
            <p:custDataLst>
              <p:tags r:id="rId89"/>
            </p:custDataLst>
            <p:extLst>
              <p:ext uri="{D42A27DB-BD31-4B8C-83A1-F6EECF244321}">
                <p14:modId xmlns:p14="http://schemas.microsoft.com/office/powerpoint/2010/main" val="138537690"/>
              </p:ext>
            </p:extLst>
          </p:nvPr>
        </p:nvGraphicFramePr>
        <p:xfrm>
          <a:off x="6936848" y="1654927"/>
          <a:ext cx="2491200" cy="17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4"/>
          </a:graphicData>
        </a:graphic>
      </p:graphicFrame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62A22F70-FB03-456A-83CB-014703592A3E}"/>
              </a:ext>
            </a:extLst>
          </p:cNvPr>
          <p:cNvCxnSpPr/>
          <p:nvPr/>
        </p:nvCxnSpPr>
        <p:spPr>
          <a:xfrm flipH="1">
            <a:off x="8309654" y="1568027"/>
            <a:ext cx="0" cy="179804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6" name="Graphique 305">
            <a:extLst>
              <a:ext uri="{FF2B5EF4-FFF2-40B4-BE49-F238E27FC236}">
                <a16:creationId xmlns:a16="http://schemas.microsoft.com/office/drawing/2014/main" id="{2EFAD91C-BAC7-4F15-859B-7DC7BBC5D264}"/>
              </a:ext>
            </a:extLst>
          </p:cNvPr>
          <p:cNvGraphicFramePr>
            <a:graphicFrameLocks/>
          </p:cNvGraphicFramePr>
          <p:nvPr>
            <p:custDataLst>
              <p:tags r:id="rId90"/>
            </p:custDataLst>
            <p:extLst>
              <p:ext uri="{D42A27DB-BD31-4B8C-83A1-F6EECF244321}">
                <p14:modId xmlns:p14="http://schemas.microsoft.com/office/powerpoint/2010/main" val="1676773266"/>
              </p:ext>
            </p:extLst>
          </p:nvPr>
        </p:nvGraphicFramePr>
        <p:xfrm>
          <a:off x="9531612" y="1612079"/>
          <a:ext cx="2491200" cy="17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5"/>
          </a:graphicData>
        </a:graphic>
      </p:graphicFrame>
      <p:cxnSp>
        <p:nvCxnSpPr>
          <p:cNvPr id="279" name="Connecteur droit 278">
            <a:extLst>
              <a:ext uri="{FF2B5EF4-FFF2-40B4-BE49-F238E27FC236}">
                <a16:creationId xmlns:a16="http://schemas.microsoft.com/office/drawing/2014/main" id="{96EB7270-1670-4F9D-A817-68DA75900D78}"/>
              </a:ext>
            </a:extLst>
          </p:cNvPr>
          <p:cNvCxnSpPr/>
          <p:nvPr/>
        </p:nvCxnSpPr>
        <p:spPr>
          <a:xfrm flipH="1">
            <a:off x="10742131" y="1533481"/>
            <a:ext cx="0" cy="179804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715760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Objet 99" hidden="1">
            <a:extLst>
              <a:ext uri="{FF2B5EF4-FFF2-40B4-BE49-F238E27FC236}">
                <a16:creationId xmlns:a16="http://schemas.microsoft.com/office/drawing/2014/main" id="{8589F35F-0A8D-4311-B1FF-9080646555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540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9" imgW="344" imgH="344" progId="TCLayout.ActiveDocument.1">
                  <p:embed/>
                </p:oleObj>
              </mc:Choice>
              <mc:Fallback>
                <p:oleObj name="Diapositive think-cell" r:id="rId29" imgW="344" imgH="344" progId="TCLayout.ActiveDocument.1">
                  <p:embed/>
                  <p:pic>
                    <p:nvPicPr>
                      <p:cNvPr id="100" name="Objet 99" hidden="1">
                        <a:extLst>
                          <a:ext uri="{FF2B5EF4-FFF2-40B4-BE49-F238E27FC236}">
                            <a16:creationId xmlns:a16="http://schemas.microsoft.com/office/drawing/2014/main" id="{8589F35F-0A8D-4311-B1FF-908064655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95EFB8ED-8525-44D3-81E0-0D09718A15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869" name="Image 868">
            <a:extLst>
              <a:ext uri="{FF2B5EF4-FFF2-40B4-BE49-F238E27FC236}">
                <a16:creationId xmlns:a16="http://schemas.microsoft.com/office/drawing/2014/main" id="{ACF24F4C-AA51-48A3-9BBB-F7448B2C06B3}"/>
              </a:ext>
            </a:extLst>
          </p:cNvPr>
          <p:cNvPicPr>
            <a:picLocks/>
          </p:cNvPicPr>
          <p:nvPr/>
        </p:nvPicPr>
        <p:blipFill rotWithShape="1">
          <a:blip r:embed="rId31"/>
          <a:srcRect l="2155"/>
          <a:stretch/>
        </p:blipFill>
        <p:spPr>
          <a:xfrm>
            <a:off x="84000" y="976768"/>
            <a:ext cx="12024000" cy="5492295"/>
          </a:xfrm>
          <a:prstGeom prst="rect">
            <a:avLst/>
          </a:prstGeom>
        </p:spPr>
      </p:pic>
      <p:sp>
        <p:nvSpPr>
          <p:cNvPr id="871" name="Rectangle 870">
            <a:extLst>
              <a:ext uri="{FF2B5EF4-FFF2-40B4-BE49-F238E27FC236}">
                <a16:creationId xmlns:a16="http://schemas.microsoft.com/office/drawing/2014/main" id="{64210237-1B7A-4D9A-8DEF-E0D7D025F0C2}"/>
              </a:ext>
            </a:extLst>
          </p:cNvPr>
          <p:cNvSpPr/>
          <p:nvPr/>
        </p:nvSpPr>
        <p:spPr>
          <a:xfrm>
            <a:off x="5993474" y="1364325"/>
            <a:ext cx="5981943" cy="3060355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0" name="Rectangle 869">
            <a:extLst>
              <a:ext uri="{FF2B5EF4-FFF2-40B4-BE49-F238E27FC236}">
                <a16:creationId xmlns:a16="http://schemas.microsoft.com/office/drawing/2014/main" id="{C75659F7-9CB2-4887-8A0C-810962CD176B}"/>
              </a:ext>
            </a:extLst>
          </p:cNvPr>
          <p:cNvSpPr/>
          <p:nvPr/>
        </p:nvSpPr>
        <p:spPr>
          <a:xfrm>
            <a:off x="189707" y="1373295"/>
            <a:ext cx="5754576" cy="5019013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9B1A035-2CF0-4F9D-9E1F-5C99E51D4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Prévisions des cadences de production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B489620-C6BF-4186-8E3F-F876FA63F9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45335D-FC8B-48AC-8398-E11E408D4F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739" name="Rectangle 738">
            <a:extLst>
              <a:ext uri="{FF2B5EF4-FFF2-40B4-BE49-F238E27FC236}">
                <a16:creationId xmlns:a16="http://schemas.microsoft.com/office/drawing/2014/main" id="{33C78E60-2E06-449B-AF6E-274549A09B03}"/>
              </a:ext>
            </a:extLst>
          </p:cNvPr>
          <p:cNvSpPr/>
          <p:nvPr/>
        </p:nvSpPr>
        <p:spPr bwMode="auto">
          <a:xfrm>
            <a:off x="177869" y="1322206"/>
            <a:ext cx="5613332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évisions des cadences de production mensuelle, nb d’avions - 2019 – 2026 (PIC#41)</a:t>
            </a:r>
          </a:p>
        </p:txBody>
      </p:sp>
      <p:sp>
        <p:nvSpPr>
          <p:cNvPr id="742" name="Rectangle 741">
            <a:extLst>
              <a:ext uri="{FF2B5EF4-FFF2-40B4-BE49-F238E27FC236}">
                <a16:creationId xmlns:a16="http://schemas.microsoft.com/office/drawing/2014/main" id="{ABC18BB4-82C9-4223-AAD8-AE0995D1758D}"/>
              </a:ext>
            </a:extLst>
          </p:cNvPr>
          <p:cNvSpPr/>
          <p:nvPr/>
        </p:nvSpPr>
        <p:spPr bwMode="auto">
          <a:xfrm>
            <a:off x="6003624" y="1322206"/>
            <a:ext cx="5613400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adences de production mensuelle à fin janvier vs Mois-1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CA74808-F434-4FB1-BE5E-2F031EAA0FDE}"/>
              </a:ext>
            </a:extLst>
          </p:cNvPr>
          <p:cNvSpPr/>
          <p:nvPr/>
        </p:nvSpPr>
        <p:spPr>
          <a:xfrm>
            <a:off x="84000" y="1067765"/>
            <a:ext cx="12024000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évisions des cadences de production mensuelle</a:t>
            </a:r>
          </a:p>
        </p:txBody>
      </p:sp>
      <p:pic>
        <p:nvPicPr>
          <p:cNvPr id="149" name="Image 31">
            <a:extLst>
              <a:ext uri="{FF2B5EF4-FFF2-40B4-BE49-F238E27FC236}">
                <a16:creationId xmlns:a16="http://schemas.microsoft.com/office/drawing/2014/main" id="{2BA8DE92-6738-4C04-AE1A-247FB8844C8B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33" name="Ellipse 132">
            <a:extLst>
              <a:ext uri="{FF2B5EF4-FFF2-40B4-BE49-F238E27FC236}">
                <a16:creationId xmlns:a16="http://schemas.microsoft.com/office/drawing/2014/main" id="{4831262B-A26E-47A5-A286-710C146AE50D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3</a:t>
            </a:r>
          </a:p>
        </p:txBody>
      </p:sp>
      <p:graphicFrame>
        <p:nvGraphicFramePr>
          <p:cNvPr id="85" name="Chart 3">
            <a:extLst>
              <a:ext uri="{FF2B5EF4-FFF2-40B4-BE49-F238E27FC236}">
                <a16:creationId xmlns:a16="http://schemas.microsoft.com/office/drawing/2014/main" id="{D005E495-3C1E-48F6-B7AC-3611ED180AC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1138804"/>
              </p:ext>
            </p:extLst>
          </p:nvPr>
        </p:nvGraphicFramePr>
        <p:xfrm>
          <a:off x="6007100" y="2054225"/>
          <a:ext cx="2290763" cy="2201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47" name="Espace réservé du texte 2">
            <a:extLst>
              <a:ext uri="{FF2B5EF4-FFF2-40B4-BE49-F238E27FC236}">
                <a16:creationId xmlns:a16="http://schemas.microsoft.com/office/drawing/2014/main" id="{A6A6738F-F0E0-486F-9139-0830926B3A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01038" y="3332163"/>
            <a:ext cx="5238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E2627584-1013-40F1-8EBD-45FDBF79B48B}" type="datetime'''''A''3''''''30'''''''''''' ''''''''''Fa''''''''m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30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8" name="Espace réservé du texte 2">
            <a:extLst>
              <a:ext uri="{FF2B5EF4-FFF2-40B4-BE49-F238E27FC236}">
                <a16:creationId xmlns:a16="http://schemas.microsoft.com/office/drawing/2014/main" id="{BBBED07B-9BF3-49F2-B15C-32DE30829C4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301038" y="2314575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55E4D64-DC0E-4302-9FD0-A225C73324DC}" type="datetime'''''A''''2''''2''''''''''''''''''''0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22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0" name="Espace réservé du texte 2">
            <a:extLst>
              <a:ext uri="{FF2B5EF4-FFF2-40B4-BE49-F238E27FC236}">
                <a16:creationId xmlns:a16="http://schemas.microsoft.com/office/drawing/2014/main" id="{5FF19DBF-43B9-4F47-88D6-892CEA366C2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01038" y="2824163"/>
            <a:ext cx="5238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5299C756-E723-4523-B465-58BEE8975A07}" type="datetime'''''A3''''''''''2''0 ''''''''''''F''''''''am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20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9" name="Espace réservé du texte 2">
            <a:extLst>
              <a:ext uri="{FF2B5EF4-FFF2-40B4-BE49-F238E27FC236}">
                <a16:creationId xmlns:a16="http://schemas.microsoft.com/office/drawing/2014/main" id="{5B7059E9-43A6-4A6A-A599-97632AE0157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994650" y="3424238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r>
              <a:rPr lang="fr-FR" altLang="en-US" sz="1000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1" name="Espace réservé du texte 2">
            <a:extLst>
              <a:ext uri="{FF2B5EF4-FFF2-40B4-BE49-F238E27FC236}">
                <a16:creationId xmlns:a16="http://schemas.microsoft.com/office/drawing/2014/main" id="{D886DA7A-7E73-490B-A584-A4D185A304C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01038" y="3841750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287CEE8B-8F21-496D-894F-FA7358D2A268}" type="datetime'''''A''''''''''''3''''''''5''''''0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5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E03B198-07C0-4269-95E4-B461A9DFB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882313" y="1695450"/>
            <a:ext cx="196850" cy="147638"/>
          </a:xfrm>
          <a:prstGeom prst="rect">
            <a:avLst/>
          </a:prstGeom>
          <a:solidFill>
            <a:srgbClr val="44546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ACAE95C9-3B62-45D6-B8CC-694C1F63E976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0882313" y="1476375"/>
            <a:ext cx="196850" cy="147638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7" name="Espace réservé du texte 2">
            <a:extLst>
              <a:ext uri="{FF2B5EF4-FFF2-40B4-BE49-F238E27FC236}">
                <a16:creationId xmlns:a16="http://schemas.microsoft.com/office/drawing/2014/main" id="{6DDBECF7-8C5D-4120-9EF0-E8D640FB88F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129963" y="1471613"/>
            <a:ext cx="4016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14432F60-1795-450C-894F-17354596EB2A}" type="datetime'''''''M''''o''is''''-''''''''1'''''''''''''">
              <a:rPr lang="fr-FR" altLang="en-US" sz="1100" b="1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ois-1</a:t>
            </a:fld>
            <a:endParaRPr lang="fr-FR" sz="11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8" name="Espace réservé du texte 2">
            <a:extLst>
              <a:ext uri="{FF2B5EF4-FFF2-40B4-BE49-F238E27FC236}">
                <a16:creationId xmlns:a16="http://schemas.microsoft.com/office/drawing/2014/main" id="{B3473F50-670B-43ED-AF3C-72A60F9C0F2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129963" y="1690688"/>
            <a:ext cx="3778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1E02D007-A37A-43E3-966F-3233EF8AA16B}" type="datetime'''''A'''' d''at''e'''''''''''''''''''''''''''''''''''''''''''">
              <a:rPr lang="fr-FR" altLang="en-US" sz="11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 date</a:t>
            </a:fld>
            <a:endParaRPr lang="fr-FR" sz="11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956CC889-5057-4EED-8A28-7F2E31FD538D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31874257"/>
              </p:ext>
            </p:extLst>
          </p:nvPr>
        </p:nvGraphicFramePr>
        <p:xfrm>
          <a:off x="9504363" y="2054225"/>
          <a:ext cx="2290762" cy="2289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60" name="Espace réservé du texte 2">
            <a:extLst>
              <a:ext uri="{FF2B5EF4-FFF2-40B4-BE49-F238E27FC236}">
                <a16:creationId xmlns:a16="http://schemas.microsoft.com/office/drawing/2014/main" id="{F294ACFE-BD76-4FF7-9600-C2A421E2AB2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305925" y="3298825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8C6899FF-114F-4FFC-8649-9BB808A6C06E}" type="datetime'''''''7''''''''''''''''''''7''''''''''''''''''''7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1" name="Espace réservé du texte 2">
            <a:extLst>
              <a:ext uri="{FF2B5EF4-FFF2-40B4-BE49-F238E27FC236}">
                <a16:creationId xmlns:a16="http://schemas.microsoft.com/office/drawing/2014/main" id="{37A5F7BA-13A2-4C54-B62A-A9E8A6C14D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305925" y="4006850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F1AAD77-5191-4649-BA09-04005EAED59B}" type="datetime'''''7''8''''''''''''7''''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8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3" name="Espace réservé du texte 2">
            <a:extLst>
              <a:ext uri="{FF2B5EF4-FFF2-40B4-BE49-F238E27FC236}">
                <a16:creationId xmlns:a16="http://schemas.microsoft.com/office/drawing/2014/main" id="{84A01702-8DB0-42AE-9C4B-F8980921E94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671050" y="2654300"/>
            <a:ext cx="198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sz="1000" b="1" noProof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,5</a:t>
            </a:r>
          </a:p>
        </p:txBody>
      </p:sp>
      <p:sp>
        <p:nvSpPr>
          <p:cNvPr id="162" name="Espace réservé du texte 2">
            <a:extLst>
              <a:ext uri="{FF2B5EF4-FFF2-40B4-BE49-F238E27FC236}">
                <a16:creationId xmlns:a16="http://schemas.microsoft.com/office/drawing/2014/main" id="{A5B439A7-DF17-413E-B1D8-A0ECCF4FE4C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053513" y="2236788"/>
            <a:ext cx="4476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1228CC2B-7A05-4819-9A8D-7FE434D1A597}" type="datetime'7''''3''''''''''''''7 F''''''''''''''''''''a''''m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37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AAD17029-FDDA-448C-BF13-577BA6F74FD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236075" y="3652838"/>
            <a:ext cx="265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53E3779-2DFD-448E-B7AD-544BAB77807E}" type="datetime'''''''''''''''''77''''''''7X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X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3" name="Espace réservé du texte 2">
            <a:extLst>
              <a:ext uri="{FF2B5EF4-FFF2-40B4-BE49-F238E27FC236}">
                <a16:creationId xmlns:a16="http://schemas.microsoft.com/office/drawing/2014/main" id="{718627F3-50D9-4D97-80C1-DD26C7D4B8C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305925" y="2590800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031A3A7-738A-4836-9D0E-BB32DA6469E1}" type="datetime'7''''''''''''''''''''''''4''''7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4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E78AAA22-A149-4799-A10A-F9288E5F9E8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963150" y="2881313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4" name="Espace réservé du texte 2">
            <a:extLst>
              <a:ext uri="{FF2B5EF4-FFF2-40B4-BE49-F238E27FC236}">
                <a16:creationId xmlns:a16="http://schemas.microsoft.com/office/drawing/2014/main" id="{AFD30AB5-9152-4985-8BFC-2F06F5ADED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305925" y="2944813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D250BE5-CF03-4CDF-88EE-BF4FDB089DFF}" type="datetime'''''76''''''''''''7''''''''''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6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8" name="Espace réservé du texte 2">
            <a:extLst>
              <a:ext uri="{FF2B5EF4-FFF2-40B4-BE49-F238E27FC236}">
                <a16:creationId xmlns:a16="http://schemas.microsoft.com/office/drawing/2014/main" id="{B22116CF-A9AF-423C-893C-FDD7D90CA7D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671050" y="2527300"/>
            <a:ext cx="196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,5</a:t>
            </a:r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0" name="Espace réservé du texte 2">
            <a:extLst>
              <a:ext uri="{FF2B5EF4-FFF2-40B4-BE49-F238E27FC236}">
                <a16:creationId xmlns:a16="http://schemas.microsoft.com/office/drawing/2014/main" id="{52621BC1-C784-4FEC-AE44-5A8556A007C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963150" y="3008313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3" name="Espace réservé du texte 2">
            <a:extLst>
              <a:ext uri="{FF2B5EF4-FFF2-40B4-BE49-F238E27FC236}">
                <a16:creationId xmlns:a16="http://schemas.microsoft.com/office/drawing/2014/main" id="{E3455FAA-AD84-4AAE-88E7-1667E73AB41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612314" y="3589338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9928F5DF-5C25-42FA-BF09-910DD277672B}" type="datetime'''''''''''''''''''''''''''''''''''''''0'''''''''''''">
              <a:rPr lang="fr-FR" altLang="en-US" sz="100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0</a:t>
            </a:fld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4" name="Espace réservé du texte 2">
            <a:extLst>
              <a:ext uri="{FF2B5EF4-FFF2-40B4-BE49-F238E27FC236}">
                <a16:creationId xmlns:a16="http://schemas.microsoft.com/office/drawing/2014/main" id="{EFD6BCAC-30FB-4CF2-A00A-EDF32F55B2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612313" y="3716338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</a:t>
            </a:r>
            <a:endParaRPr lang="fr-FR" sz="10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Espace réservé du texte 2">
            <a:extLst>
              <a:ext uri="{FF2B5EF4-FFF2-40B4-BE49-F238E27FC236}">
                <a16:creationId xmlns:a16="http://schemas.microsoft.com/office/drawing/2014/main" id="{1300E904-A8F1-4377-9F2D-F483EAFE65F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612313" y="4070350"/>
            <a:ext cx="100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0DAC6386-F5A8-4B79-BF38-86E6965022A5}" type="datetime'''''''''''''''''''0'''''''''''''">
              <a:rPr lang="fr-FR" altLang="en-US" sz="1000" b="1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8" name="ZoneTexte 177">
            <a:extLst>
              <a:ext uri="{FF2B5EF4-FFF2-40B4-BE49-F238E27FC236}">
                <a16:creationId xmlns:a16="http://schemas.microsoft.com/office/drawing/2014/main" id="{F48AE032-8349-4D23-AA1B-0CB2DFBBA03D}"/>
              </a:ext>
            </a:extLst>
          </p:cNvPr>
          <p:cNvSpPr txBox="1"/>
          <p:nvPr/>
        </p:nvSpPr>
        <p:spPr>
          <a:xfrm>
            <a:off x="10949711" y="4202646"/>
            <a:ext cx="1044575" cy="184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pic>
        <p:nvPicPr>
          <p:cNvPr id="183" name="Image 182">
            <a:extLst>
              <a:ext uri="{FF2B5EF4-FFF2-40B4-BE49-F238E27FC236}">
                <a16:creationId xmlns:a16="http://schemas.microsoft.com/office/drawing/2014/main" id="{0961CF9C-5EEE-4B4E-A048-A7BF5CDF0EB1}"/>
              </a:ext>
            </a:extLst>
          </p:cNvPr>
          <p:cNvPicPr>
            <a:picLocks/>
          </p:cNvPicPr>
          <p:nvPr/>
        </p:nvPicPr>
        <p:blipFill>
          <a:blip r:embed="rId36"/>
          <a:stretch>
            <a:fillRect/>
          </a:stretch>
        </p:blipFill>
        <p:spPr>
          <a:xfrm>
            <a:off x="6727825" y="1792288"/>
            <a:ext cx="684213" cy="455613"/>
          </a:xfrm>
          <a:prstGeom prst="rect">
            <a:avLst/>
          </a:prstGeom>
        </p:spPr>
      </p:pic>
      <p:pic>
        <p:nvPicPr>
          <p:cNvPr id="184" name="Image 183">
            <a:extLst>
              <a:ext uri="{FF2B5EF4-FFF2-40B4-BE49-F238E27FC236}">
                <a16:creationId xmlns:a16="http://schemas.microsoft.com/office/drawing/2014/main" id="{D03C2D69-7F94-4528-80D7-F007ADB06DA0}"/>
              </a:ext>
            </a:extLst>
          </p:cNvPr>
          <p:cNvPicPr>
            <a:picLocks/>
          </p:cNvPicPr>
          <p:nvPr/>
        </p:nvPicPr>
        <p:blipFill rotWithShape="1">
          <a:blip r:embed="rId37"/>
          <a:srcRect t="63342"/>
          <a:stretch/>
        </p:blipFill>
        <p:spPr>
          <a:xfrm>
            <a:off x="10120313" y="1936750"/>
            <a:ext cx="684213" cy="166688"/>
          </a:xfrm>
          <a:prstGeom prst="rect">
            <a:avLst/>
          </a:prstGeom>
        </p:spPr>
      </p:pic>
      <p:cxnSp>
        <p:nvCxnSpPr>
          <p:cNvPr id="185" name="Connecteur droit 184">
            <a:extLst>
              <a:ext uri="{FF2B5EF4-FFF2-40B4-BE49-F238E27FC236}">
                <a16:creationId xmlns:a16="http://schemas.microsoft.com/office/drawing/2014/main" id="{8E070C81-7978-4428-802F-E547D5658686}"/>
              </a:ext>
            </a:extLst>
          </p:cNvPr>
          <p:cNvCxnSpPr>
            <a:cxnSpLocks/>
          </p:cNvCxnSpPr>
          <p:nvPr/>
        </p:nvCxnSpPr>
        <p:spPr>
          <a:xfrm>
            <a:off x="8953500" y="1973263"/>
            <a:ext cx="0" cy="2159000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F0937B19-5489-4B9E-A69B-119AB1EA458D}"/>
              </a:ext>
            </a:extLst>
          </p:cNvPr>
          <p:cNvSpPr/>
          <p:nvPr/>
        </p:nvSpPr>
        <p:spPr>
          <a:xfrm>
            <a:off x="6011720" y="4455226"/>
            <a:ext cx="5981943" cy="1911747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9164E85-8617-4DC4-BD6B-C8C57128CE6D}"/>
              </a:ext>
            </a:extLst>
          </p:cNvPr>
          <p:cNvSpPr/>
          <p:nvPr/>
        </p:nvSpPr>
        <p:spPr bwMode="auto">
          <a:xfrm>
            <a:off x="6003205" y="4407694"/>
            <a:ext cx="5613400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rnières annonc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D549740-A941-4BE6-91AB-10114099C5D3}"/>
              </a:ext>
            </a:extLst>
          </p:cNvPr>
          <p:cNvSpPr txBox="1"/>
          <p:nvPr/>
        </p:nvSpPr>
        <p:spPr>
          <a:xfrm>
            <a:off x="5996246" y="5073444"/>
            <a:ext cx="3053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</a:rPr>
              <a:t>Famille A320NEO,</a:t>
            </a:r>
          </a:p>
          <a:p>
            <a:r>
              <a:rPr lang="fr-FR" sz="900" b="1" dirty="0">
                <a:solidFill>
                  <a:schemeClr val="tx2"/>
                </a:solidFill>
              </a:rPr>
              <a:t>incluant A321</a:t>
            </a:r>
            <a:endParaRPr lang="fr-FR" sz="900" dirty="0">
              <a:solidFill>
                <a:schemeClr val="tx2"/>
              </a:solidFill>
            </a:endParaRPr>
          </a:p>
        </p:txBody>
      </p:sp>
      <p:cxnSp>
        <p:nvCxnSpPr>
          <p:cNvPr id="101" name="Connecteur droit 100">
            <a:extLst>
              <a:ext uri="{FF2B5EF4-FFF2-40B4-BE49-F238E27FC236}">
                <a16:creationId xmlns:a16="http://schemas.microsoft.com/office/drawing/2014/main" id="{31F5732E-830B-4973-8237-9325C166A666}"/>
              </a:ext>
            </a:extLst>
          </p:cNvPr>
          <p:cNvCxnSpPr>
            <a:cxnSpLocks/>
          </p:cNvCxnSpPr>
          <p:nvPr/>
        </p:nvCxnSpPr>
        <p:spPr>
          <a:xfrm>
            <a:off x="9240889" y="4925091"/>
            <a:ext cx="0" cy="1404000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Image 101">
            <a:extLst>
              <a:ext uri="{FF2B5EF4-FFF2-40B4-BE49-F238E27FC236}">
                <a16:creationId xmlns:a16="http://schemas.microsoft.com/office/drawing/2014/main" id="{ADAB5243-799D-430E-968D-3F885EFE4B0F}"/>
              </a:ext>
            </a:extLst>
          </p:cNvPr>
          <p:cNvPicPr>
            <a:picLocks/>
          </p:cNvPicPr>
          <p:nvPr/>
        </p:nvPicPr>
        <p:blipFill>
          <a:blip r:embed="rId36"/>
          <a:stretch>
            <a:fillRect/>
          </a:stretch>
        </p:blipFill>
        <p:spPr>
          <a:xfrm>
            <a:off x="6039154" y="4671340"/>
            <a:ext cx="684213" cy="441448"/>
          </a:xfrm>
          <a:prstGeom prst="rect">
            <a:avLst/>
          </a:prstGeom>
        </p:spPr>
      </p:pic>
      <p:pic>
        <p:nvPicPr>
          <p:cNvPr id="103" name="Image 102">
            <a:extLst>
              <a:ext uri="{FF2B5EF4-FFF2-40B4-BE49-F238E27FC236}">
                <a16:creationId xmlns:a16="http://schemas.microsoft.com/office/drawing/2014/main" id="{796BCA53-CE98-4823-A0B6-E73339B26374}"/>
              </a:ext>
            </a:extLst>
          </p:cNvPr>
          <p:cNvPicPr>
            <a:picLocks/>
          </p:cNvPicPr>
          <p:nvPr/>
        </p:nvPicPr>
        <p:blipFill rotWithShape="1">
          <a:blip r:embed="rId37"/>
          <a:srcRect t="63342"/>
          <a:stretch/>
        </p:blipFill>
        <p:spPr>
          <a:xfrm>
            <a:off x="9454063" y="4736645"/>
            <a:ext cx="684213" cy="166688"/>
          </a:xfrm>
          <a:prstGeom prst="rect">
            <a:avLst/>
          </a:prstGeom>
        </p:spPr>
      </p:pic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D61B3765-AA7C-46B6-9B34-B8DC253EF02B}"/>
              </a:ext>
            </a:extLst>
          </p:cNvPr>
          <p:cNvCxnSpPr/>
          <p:nvPr/>
        </p:nvCxnSpPr>
        <p:spPr>
          <a:xfrm flipV="1">
            <a:off x="238898" y="1717516"/>
            <a:ext cx="5112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Connecteur droit 270">
            <a:extLst>
              <a:ext uri="{FF2B5EF4-FFF2-40B4-BE49-F238E27FC236}">
                <a16:creationId xmlns:a16="http://schemas.microsoft.com/office/drawing/2014/main" id="{43995405-9F1C-413F-BAE8-4B292BEE38A3}"/>
              </a:ext>
            </a:extLst>
          </p:cNvPr>
          <p:cNvCxnSpPr/>
          <p:nvPr/>
        </p:nvCxnSpPr>
        <p:spPr>
          <a:xfrm flipV="1">
            <a:off x="6096000" y="1717516"/>
            <a:ext cx="3420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Connecteur droit 271">
            <a:extLst>
              <a:ext uri="{FF2B5EF4-FFF2-40B4-BE49-F238E27FC236}">
                <a16:creationId xmlns:a16="http://schemas.microsoft.com/office/drawing/2014/main" id="{0B8BD528-A892-4230-812F-CE7BBF389505}"/>
              </a:ext>
            </a:extLst>
          </p:cNvPr>
          <p:cNvCxnSpPr/>
          <p:nvPr/>
        </p:nvCxnSpPr>
        <p:spPr>
          <a:xfrm flipV="1">
            <a:off x="6035675" y="4751138"/>
            <a:ext cx="1332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ZoneTexte 272">
            <a:extLst>
              <a:ext uri="{FF2B5EF4-FFF2-40B4-BE49-F238E27FC236}">
                <a16:creationId xmlns:a16="http://schemas.microsoft.com/office/drawing/2014/main" id="{ECCFAE51-245D-4D55-81AD-B97B1FD81D3E}"/>
              </a:ext>
            </a:extLst>
          </p:cNvPr>
          <p:cNvSpPr txBox="1"/>
          <p:nvPr/>
        </p:nvSpPr>
        <p:spPr>
          <a:xfrm>
            <a:off x="11009092" y="6218614"/>
            <a:ext cx="1044575" cy="184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274" name="ZoneTexte 273">
            <a:extLst>
              <a:ext uri="{FF2B5EF4-FFF2-40B4-BE49-F238E27FC236}">
                <a16:creationId xmlns:a16="http://schemas.microsoft.com/office/drawing/2014/main" id="{77D109C9-1C0C-4449-984E-E7DA0AA3F340}"/>
              </a:ext>
            </a:extLst>
          </p:cNvPr>
          <p:cNvSpPr txBox="1"/>
          <p:nvPr/>
        </p:nvSpPr>
        <p:spPr>
          <a:xfrm>
            <a:off x="4724401" y="6199399"/>
            <a:ext cx="125726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estimations internes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EC6758B0-B622-4FC5-A398-E5DF4655F1C2}"/>
              </a:ext>
            </a:extLst>
          </p:cNvPr>
          <p:cNvSpPr txBox="1"/>
          <p:nvPr/>
        </p:nvSpPr>
        <p:spPr>
          <a:xfrm>
            <a:off x="9286509" y="4905351"/>
            <a:ext cx="29727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</a:rPr>
              <a:t>737 Max (info Boeing)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EB51A7A-F92D-4B4C-86AC-3B3043B9CC88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288971" y="1950427"/>
            <a:ext cx="5719606" cy="3924304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6E8EE4CC-61BB-412B-B12B-EF3FC7874D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709528"/>
              </p:ext>
            </p:extLst>
          </p:nvPr>
        </p:nvGraphicFramePr>
        <p:xfrm>
          <a:off x="7143339" y="4772022"/>
          <a:ext cx="2019300" cy="1600200"/>
        </p:xfrm>
        <a:graphic>
          <a:graphicData uri="http://schemas.openxmlformats.org/drawingml/2006/table">
            <a:tbl>
              <a:tblPr firstRow="1" firstCol="1" bandRow="1"/>
              <a:tblGrid>
                <a:gridCol w="952500">
                  <a:extLst>
                    <a:ext uri="{9D8B030D-6E8A-4147-A177-3AD203B41FA5}">
                      <a16:colId xmlns:a16="http://schemas.microsoft.com/office/drawing/2014/main" val="2058400336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208441395"/>
                    </a:ext>
                  </a:extLst>
                </a:gridCol>
              </a:tblGrid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ate</a:t>
                      </a:r>
                      <a:endParaRPr lang="fr-FR" sz="105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ériode</a:t>
                      </a:r>
                      <a:endParaRPr lang="fr-FR" sz="105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581113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3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il-21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8722479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5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ct-21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443906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9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anv-22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18839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5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il-22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115849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61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anv-23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571747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64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vr-23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2709945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67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il-23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1689140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70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anv-24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9855620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75 (à l'étude)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25 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588939"/>
                  </a:ext>
                </a:extLst>
              </a:tr>
            </a:tbl>
          </a:graphicData>
        </a:graphic>
      </p:graphicFrame>
      <p:graphicFrame>
        <p:nvGraphicFramePr>
          <p:cNvPr id="61" name="Tableau 60">
            <a:extLst>
              <a:ext uri="{FF2B5EF4-FFF2-40B4-BE49-F238E27FC236}">
                <a16:creationId xmlns:a16="http://schemas.microsoft.com/office/drawing/2014/main" id="{5A0DE4C8-10F2-408F-9376-9CEC0A9D01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5589698"/>
              </p:ext>
            </p:extLst>
          </p:nvPr>
        </p:nvGraphicFramePr>
        <p:xfrm>
          <a:off x="9398052" y="5126467"/>
          <a:ext cx="2019300" cy="1120140"/>
        </p:xfrm>
        <a:graphic>
          <a:graphicData uri="http://schemas.openxmlformats.org/drawingml/2006/table">
            <a:tbl>
              <a:tblPr firstRow="1" firstCol="1" bandRow="1"/>
              <a:tblGrid>
                <a:gridCol w="952500">
                  <a:extLst>
                    <a:ext uri="{9D8B030D-6E8A-4147-A177-3AD203B41FA5}">
                      <a16:colId xmlns:a16="http://schemas.microsoft.com/office/drawing/2014/main" val="2058400336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208441395"/>
                    </a:ext>
                  </a:extLst>
                </a:gridCol>
              </a:tblGrid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ate</a:t>
                      </a:r>
                      <a:endParaRPr lang="fr-FR" sz="105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ériode</a:t>
                      </a:r>
                      <a:endParaRPr lang="fr-FR" sz="105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581113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7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in-21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8722479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4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anv-22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443906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1,5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in-22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18839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8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c-22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115849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7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in-23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571747"/>
                  </a:ext>
                </a:extLst>
              </a:tr>
              <a:tr h="122236"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2,5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anv-24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27099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5315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E7DA7668-F055-4F95-BFC7-13B8944E8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4453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E7DA7668-F055-4F95-BFC7-13B8944E8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014238A3-36EC-4E98-A577-C0177F492E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5EB0EC0-0933-4992-8D7A-15F7F1CE6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1 : Cadence moyenne mensuelle FAL 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C6CCB95-1F50-4BA4-B4AB-560C54020EA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E277686-3CB4-4845-812A-CD9C4BBFEC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6</a:t>
            </a:fld>
            <a:endParaRPr lang="fr-FR" dirty="0"/>
          </a:p>
        </p:txBody>
      </p:sp>
      <p:pic>
        <p:nvPicPr>
          <p:cNvPr id="30" name="Image 31">
            <a:extLst>
              <a:ext uri="{FF2B5EF4-FFF2-40B4-BE49-F238E27FC236}">
                <a16:creationId xmlns:a16="http://schemas.microsoft.com/office/drawing/2014/main" id="{F17B410F-FC81-451A-BCA1-8E145F3D36C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028F9A50-9264-4D88-B30E-9A2C0A44EF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806" y="3358689"/>
            <a:ext cx="2272923" cy="11997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rmAutofit/>
          </a:bodyPr>
          <a:lstStyle/>
          <a:p>
            <a:r>
              <a:rPr lang="fr-FR" sz="16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-cliquer sur le tableau pour accéder au filtre</a:t>
            </a:r>
          </a:p>
        </p:txBody>
      </p:sp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FCA00834-7D46-42F4-BC6F-BEB22D63F7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52045631"/>
              </p:ext>
            </p:extLst>
          </p:nvPr>
        </p:nvGraphicFramePr>
        <p:xfrm>
          <a:off x="1103444" y="899871"/>
          <a:ext cx="9786887" cy="5459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13163507" imgH="7343775" progId="Excel.Sheet.12">
                  <p:embed/>
                </p:oleObj>
              </mc:Choice>
              <mc:Fallback>
                <p:oleObj name="Worksheet" r:id="rId8" imgW="13163507" imgH="7343775" progId="Excel.Sheet.12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FCA00834-7D46-42F4-BC6F-BEB22D63F7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03444" y="899871"/>
                        <a:ext cx="9786887" cy="54592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5834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7387BF00-5B9D-4403-A3F3-153C68A44B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615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7387BF00-5B9D-4403-A3F3-153C68A44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CAAD1A-4DDC-49BE-9780-6C6022A863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7DA671E3-E682-4B30-8BFE-0AE634B17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2 : Nb d’avions livrés par moi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CC6CF90-4490-47BC-B438-06C3F0707D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03445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677E086-CC59-4E36-AB9B-BD096D1F93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7</a:t>
            </a:fld>
            <a:endParaRPr lang="fr-FR" dirty="0"/>
          </a:p>
        </p:txBody>
      </p:sp>
      <p:pic>
        <p:nvPicPr>
          <p:cNvPr id="13" name="Image 31">
            <a:extLst>
              <a:ext uri="{FF2B5EF4-FFF2-40B4-BE49-F238E27FC236}">
                <a16:creationId xmlns:a16="http://schemas.microsoft.com/office/drawing/2014/main" id="{FB0D4C9F-BFA7-477B-A44B-65C65F5A38A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BDC86617-7E8D-4773-B301-8732E94BD27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49538417"/>
              </p:ext>
            </p:extLst>
          </p:nvPr>
        </p:nvGraphicFramePr>
        <p:xfrm>
          <a:off x="31486" y="2061644"/>
          <a:ext cx="12129028" cy="3472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16903873" imgH="4838656" progId="Excel.Sheet.12">
                  <p:embed/>
                </p:oleObj>
              </mc:Choice>
              <mc:Fallback>
                <p:oleObj name="Worksheet" r:id="rId7" imgW="16903873" imgH="4838656" progId="Excel.Sheet.12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BDC86617-7E8D-4773-B301-8732E94BD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486" y="2061644"/>
                        <a:ext cx="12129028" cy="34728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32186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46297289-D89A-4022-863D-9CAFB2B950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948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46297289-D89A-4022-863D-9CAFB2B95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D7EA698-E32C-4816-AB17-1E3C0A14BA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1E85521E-3BC9-4E46-AD00-ECED7A465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3 : Nb d’avions commandés (et annulés) par moi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25995B7-B492-4831-8114-3A3724BB78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6E228E0-F2C9-40BB-A5F1-B384425D6C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8</a:t>
            </a:fld>
            <a:endParaRPr lang="fr-FR" dirty="0"/>
          </a:p>
        </p:txBody>
      </p:sp>
      <p:graphicFrame>
        <p:nvGraphicFramePr>
          <p:cNvPr id="9" name="Objet 8">
            <a:extLst>
              <a:ext uri="{FF2B5EF4-FFF2-40B4-BE49-F238E27FC236}">
                <a16:creationId xmlns:a16="http://schemas.microsoft.com/office/drawing/2014/main" id="{91F45A39-75CB-4602-9896-D9E3C9DA57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9225499"/>
              </p:ext>
            </p:extLst>
          </p:nvPr>
        </p:nvGraphicFramePr>
        <p:xfrm>
          <a:off x="100506" y="2206625"/>
          <a:ext cx="11854308" cy="35632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16643461" imgH="5003962" progId="Excel.Sheet.12">
                  <p:embed/>
                </p:oleObj>
              </mc:Choice>
              <mc:Fallback>
                <p:oleObj name="Worksheet" r:id="rId6" imgW="16643461" imgH="5003962" progId="Excel.Sheet.12">
                  <p:embed/>
                  <p:pic>
                    <p:nvPicPr>
                      <p:cNvPr id="9" name="Objet 8">
                        <a:extLst>
                          <a:ext uri="{FF2B5EF4-FFF2-40B4-BE49-F238E27FC236}">
                            <a16:creationId xmlns:a16="http://schemas.microsoft.com/office/drawing/2014/main" id="{91F45A39-75CB-4602-9896-D9E3C9DA5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0506" y="2206625"/>
                        <a:ext cx="11854308" cy="35632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49572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B56FB8D4-6CD3-4855-9504-D34C48199A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750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B56FB8D4-6CD3-4855-9504-D34C48199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335AC3-6BAB-4119-A38E-88A1480EB1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3F6C8516-1C37-4F88-9BE5-EC9DFD5E9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4 : Evolution du carnet de commandes Airbus/Boeing 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22DD85-AC81-4544-86A0-A27E8C74E4B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Août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DE35B5E-9114-4913-9822-486992F225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16" name="Image 31">
            <a:extLst>
              <a:ext uri="{FF2B5EF4-FFF2-40B4-BE49-F238E27FC236}">
                <a16:creationId xmlns:a16="http://schemas.microsoft.com/office/drawing/2014/main" id="{D316BC77-F9F1-4536-AE08-A90F6E4C7F1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97CCB0AE-54A4-479A-97B1-F18800D0E3D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1371782"/>
              </p:ext>
            </p:extLst>
          </p:nvPr>
        </p:nvGraphicFramePr>
        <p:xfrm>
          <a:off x="212156" y="2195195"/>
          <a:ext cx="11767687" cy="3702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17481513" imgH="5499085" progId="Excel.Sheet.12">
                  <p:embed/>
                </p:oleObj>
              </mc:Choice>
              <mc:Fallback>
                <p:oleObj name="Worksheet" r:id="rId7" imgW="17481513" imgH="5499085" progId="Excel.Sheet.12">
                  <p:embed/>
                  <p:pic>
                    <p:nvPicPr>
                      <p:cNvPr id="2" name="Objet 1">
                        <a:extLst>
                          <a:ext uri="{FF2B5EF4-FFF2-40B4-BE49-F238E27FC236}">
                            <a16:creationId xmlns:a16="http://schemas.microsoft.com/office/drawing/2014/main" id="{97CCB0AE-54A4-479A-97B1-F18800D0E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2156" y="2195195"/>
                        <a:ext cx="11767687" cy="37026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2461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DIVIDERS_STYLE_TAG" val="POWER_USER_LAYOUT_DIVIDER"/>
  <p:tag name="POWER_USER_PPT_AGENDA_PRESENTATION_COLOR_TAG" val="#FBF315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2.36609999999999986997E+00&quot;&gt;&lt;m_msothmcolidx val=&quot;0&quot;/&gt;&lt;m_rgb r=&quot;44&quot; g=&quot;54&quot; b=&quot;6A&quot;/&gt;&lt;/elem&gt;&lt;elem m_fUsage=&quot;1.80002107073961026273E+00&quot;&gt;&lt;m_msothmcolidx val=&quot;0&quot;/&gt;&lt;m_rgb r=&quot;CE&quot; g=&quot;D0&quot; b=&quot;E1&quot;/&gt;&lt;/elem&gt;&lt;elem m_fUsage=&quot;1.65854711931390008672E+00&quot;&gt;&lt;m_msothmcolidx val=&quot;0&quot;/&gt;&lt;m_rgb r=&quot;FD&quot; g=&quot;C1&quot; b=&quot;A1&quot;/&gt;&lt;/elem&gt;&lt;elem m_fUsage=&quot;1.00000000000000000000E+00&quot;&gt;&lt;m_msothmcolidx val=&quot;0&quot;/&gt;&lt;m_rgb r=&quot;B6&quot; g=&quot;B8&quot; b=&quot;D1&quot;/&gt;&lt;/elem&gt;&lt;elem m_fUsage=&quot;7.29000000000000092371E-01&quot;&gt;&lt;m_msothmcolidx val=&quot;0&quot;/&gt;&lt;m_rgb r=&quot;3C&quot; g=&quot;3F&quot; b=&quot;60&quot;/&gt;&lt;/elem&gt;&lt;elem m_fUsage=&quot;3.87420489000000145552E-01&quot;&gt;&lt;m_msothmcolidx val=&quot;0&quot;/&gt;&lt;m_rgb r=&quot;5A&quot; g=&quot;5F&quot; b=&quot;90&quot;/&gt;&lt;/elem&gt;&lt;elem m_fUsage=&quot;2.05891132094649098594E-01&quot;&gt;&lt;m_msothmcolidx val=&quot;0&quot;/&gt;&lt;m_rgb r=&quot;47&quot; g=&quot;4C&quot; b=&quot;8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Gbg7IABN0lxp1M4uz42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p1DnJE4xlLNLP61cHJ4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HbTKdC3g7N3eDzCbEm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W2r8eBhSHQJ4KXWI0rn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351F40E_1A32_4A85_B744_FEA1F8261338&quot;,&quot;SourceFullName&quot;:&quot;https://erametgroup-my.sharepoint.com/personal/sandrine_provenchere_eramet_com/Documents/06_DASHBOARD/Dashboard-Suivi-Mensuel-Aero/DASHBOARD/2021_Dashboard_marché-AERO.xlsx&quot;,&quot;LastUpdate&quot;:&quot;2021-09-21 3:09 PM&quot;,&quot;UpdatedBy&quot;:&quot;sandrine.provenchere&quot;,&quot;IsLinked&quot;:false,&quot;IsBrokenLink&quot;:false,&quot;Type&quot;:1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AACAB18_3D87_47F2_AD25_E0497635BFE8&quot;,&quot;SourceFullName&quot;:&quot;https://erametgroup-my.sharepoint.com/personal/sandrine_provenchere_eramet_com/Documents/06_DASHBOARD/Dashboard-Suivi-Mensuel-Aero/DASHBOARD/2021_Dashboard_marché-AERO.xlsx&quot;,&quot;LastUpdate&quot;:&quot;2021-09-21 3:13 PM&quot;,&quot;UpdatedBy&quot;:&quot;sandrine.provenchere&quot;,&quot;IsLinked&quot;:false,&quot;IsBrokenLink&quot;:false,&quot;Type&quot;:1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i2npsQTMgYnj3l2U_o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.wLExhF5ZlfkInVcFQJ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.JIUhJmjYzuzrtdZaM1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ROotqri0clbxqFMBt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bTEsUutV4n7mv4HsNom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p5xD4nx1dap910jM0ib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GROB8TpLTOwpQGNmn_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iK01dYwjTbmCF2u1HT7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ZwW_SZqqgO0sNenw4XB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AbTk8JSxveMVLEI4tC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vgxrdcnN80oaPifVs4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FBUjP7vAaDMx7g5s3t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tZxd.U7lrhIcXOrCpUl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rwL4dU2NDgvvUO_DJE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m6ibuuJ0A_zoGu44.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7cJRZ1OoljkpMH4icx_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rGxFiwPhyzVdi2iMsam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OwKbcsHA8qE0PyNb6rT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lzW5U0rqHnI4pfy_En7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srj58Jmxnn7Ps7RS6TG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O1DgE8vDzAzBv1LTrn1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4owzGE2h51st_vAotzN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nzFEhf1bGf7nXMF0bZD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Nq13YfZcLQirhtY2KxF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0n22tSYIFqbtkfPpQU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TyFhShQwvvbd6plVUX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iZr8HH0fJTEw7ZH2dZf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STICKY_NOTES" val="POWER_USER_STICKY_NOTES"/>
  <p:tag name="POWER_USER_CONTEXTUAL_SHAPES_TAG" val="POWER_USER_CONTEXTUAL_SHAPES_STICKY_NOTE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uI4kgGX4pJ1ZI8v9X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eYcfAC0_s4_1Bler8wD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_nEq7R4.V1.gWnHMgo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LR48BPYuboqUDk3gbv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GpjgE5BDd1u0Dl_yJP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Dashboard_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DjobRa9EhnWagM7rxI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Sdk3aVWJLmj83Xj4LP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EYAQFqdvDnBR38AOJj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RwD3pUx0yq4b.lMaYy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nwbDusQKb2g21nbxT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fqXZOQn0fEOmJ6DAtL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XXYJ.LXUysXS.Acvf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vQ.ieuppO8du0OLeYb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X1EvEKU1D7MtigmhxR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kGcSJiMf7UKHNMYlIg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l4Jbs8OXyQqO3keumD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zdg3esHNyKT5IpA87A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6RHhtrT_IH.fk5OSmT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xo7AWda4pt_z7gmuza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tXG0NwWKjLdGYR40r3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zEoVgM18IbToRMSWqt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m9_4gt8sdkFmNjcUUD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1joY1.cQvY1wrRP.My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5jEqWZaMfHIaNTRnr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QkTPCrrQZDQoBxbPcN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FIxEe0xNYFstyqJ_57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IDCxPFh_K1rVV4M_k2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UObIUO5ufT36v8Z9_s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tFAgrsYNa1jZBeDQWuz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4c8YtZe3pnXZH8KO.J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xfI0HbEPOCrEpv7CrqT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zmql3qBXl.iK3GT4X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1miFJOd6eE7j30ULv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s_hC4gH8A2zxbpI9fz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HDAcIJyrkQpsduz2c06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QK1SWAmoiyaXjRpnncA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OW.b7K4UTftk73.DBwE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bzoIgp4H2mAevtlqu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7VsyJ9W.YZJbdm8t0q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2zCKB6fzSgwJmvMqCR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qcAlnggTm1LRW5GArr_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sseQ1u_wjYAqMAZNxi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mSGS0nhAraqQ.6Y79K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G4oJ9nXkIxgLxCJAUZ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7mOotx.RXHyIKHVPg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dE70q9hJqRbcZ6A962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rkpxhurUzfVstWWWRi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0cjN4FjEVH3Vc..2xO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qDUCy7JRSMExnQdLTo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63FM7B.XYxSareGmQd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qY9ZBu6kARNlDvnS8k0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.bDdewJXJbS_kBmx9I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VwL_4ZJsn0g8_0t5kR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72u0Uwz8MLspnQLu34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kEDOG.I1edpKAEtsUt3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6lf94n62fMa1AtmGsg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cHyAqoDr1pnsmcFoZh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JLt2CqGlpCq34SREDIr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J56vnG1Mr6mzQfDAYL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IL89Q6QUQP_zX1vZdI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9FH9fEh.uhVooaKJQC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HvnuqELUl_oh2pkRnp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kTOkGoVZ31cpAULReVn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_hflqCW3_dFgmNQEn_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KbrKUBN8QXGirvQbLo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rZhIJF.nmJumUt_J.C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12uO0MZqe4oxeRmPW.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_Lsb6AC7qr_Nzh7Fe0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F1HXF2iV3WoYvLHKI9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zTDh6VHiwT6o1LtacW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QuiRyoQKyYfu5rY7w5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huASesQVAHxkV2xRgn1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Kj3fL5LJLBgZj3kqMSL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7byhmAp5Oe2FahSfMJq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OQEFV5s4EoAmfzUDIX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vlqygWxX1oT47OG3Wq2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7cIZtKjhWYfVJ36H7Mw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1yktDrKyeWqBbM158P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CcjOyFehX.60nSFomO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9qsyslymyyL57ullJdU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pZwf4DiLtO.JZqOaeC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xsCzS6m4FnVfqIKdfP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wPXMBA984YckhoC36GF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Q0afPf96xeN.mDkuy0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KEXR7U2xIyUGhw07Yx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UAIbPjBjRz0DZS2Is30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crUj4jl47apFNnPrSz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H8Xc4L4lhnJGoLxXu2_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EWYtzpyRgoy4OJTuvlg"/>
</p:tagLst>
</file>

<file path=ppt/theme/theme1.xml><?xml version="1.0" encoding="utf-8"?>
<a:theme xmlns:a="http://schemas.openxmlformats.org/drawingml/2006/main" name="Default Theme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2E9707B0-AFAD-4E37-83B2-65E56D92304B}" vid="{56E404CF-8FED-452B-B090-8A2F0CF3A5F2}"/>
    </a:ext>
  </a:extLst>
</a:theme>
</file>

<file path=ppt/theme/theme2.xml><?xml version="1.0" encoding="utf-8"?>
<a:theme xmlns:a="http://schemas.openxmlformats.org/drawingml/2006/main" name="1_AUBERT&amp;DUVAL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869ED258-25C0-47E6-944C-BF97BD6B4D0D}"/>
    </a:ext>
  </a:extLst>
</a:theme>
</file>

<file path=ppt/theme/theme3.xml><?xml version="1.0" encoding="utf-8"?>
<a:theme xmlns:a="http://schemas.openxmlformats.org/drawingml/2006/main" name="2_ERASTEEL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54DB7B35-2F85-4150-AA57-186F44BF3FE3}"/>
    </a:ext>
  </a:extLst>
</a:theme>
</file>

<file path=ppt/theme/theme4.xml><?xml version="1.0" encoding="utf-8"?>
<a:theme xmlns:a="http://schemas.openxmlformats.org/drawingml/2006/main" name="3_AD+ES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5278248A-07DD-46FD-9847-6640A84025F1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A1912B6E11934E8B096E7A522338B1" ma:contentTypeVersion="13" ma:contentTypeDescription="Crée un document." ma:contentTypeScope="" ma:versionID="0df7c930c89d9d3ded91cb53357a94ff">
  <xsd:schema xmlns:xsd="http://www.w3.org/2001/XMLSchema" xmlns:xs="http://www.w3.org/2001/XMLSchema" xmlns:p="http://schemas.microsoft.com/office/2006/metadata/properties" xmlns:ns3="fb1e9980-ab61-411d-9d15-db2b543af212" xmlns:ns4="e2436d64-00a3-42ad-a3b6-20599c347650" targetNamespace="http://schemas.microsoft.com/office/2006/metadata/properties" ma:root="true" ma:fieldsID="7ead3512816d8b38e985b854c6afc7d7" ns3:_="" ns4:_="">
    <xsd:import namespace="fb1e9980-ab61-411d-9d15-db2b543af212"/>
    <xsd:import namespace="e2436d64-00a3-42ad-a3b6-20599c34765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EventHashCode" minOccurs="0"/>
                <xsd:element ref="ns3:MediaServiceGenerationTime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1e9980-ab61-411d-9d15-db2b543af2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436d64-00a3-42ad-a3b6-20599c34765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E71A55-4BCE-4434-ADC6-C93C5A390AE7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b1e9980-ab61-411d-9d15-db2b543af212"/>
    <ds:schemaRef ds:uri="http://purl.org/dc/terms/"/>
    <ds:schemaRef ds:uri="http://schemas.openxmlformats.org/package/2006/metadata/core-properties"/>
    <ds:schemaRef ds:uri="e2436d64-00a3-42ad-a3b6-20599c347650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9995CE4-F737-4594-ACCE-445701F6A6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184442-010F-49E8-8B05-6B1B7C524E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1e9980-ab61-411d-9d15-db2b543af212"/>
    <ds:schemaRef ds:uri="e2436d64-00a3-42ad-a3b6-20599c34765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7634</TotalTime>
  <Words>989</Words>
  <Application>Microsoft Office PowerPoint</Application>
  <PresentationFormat>Grand écran</PresentationFormat>
  <Paragraphs>284</Paragraphs>
  <Slides>10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10</vt:i4>
      </vt:variant>
    </vt:vector>
  </HeadingPairs>
  <TitlesOfParts>
    <vt:vector size="20" baseType="lpstr">
      <vt:lpstr>Calibri</vt:lpstr>
      <vt:lpstr>Wingdings</vt:lpstr>
      <vt:lpstr>Arial</vt:lpstr>
      <vt:lpstr>Default Theme</vt:lpstr>
      <vt:lpstr>1_AUBERT&amp;DUVAL</vt:lpstr>
      <vt:lpstr>2_ERASTEEL</vt:lpstr>
      <vt:lpstr>3_AD+ES</vt:lpstr>
      <vt:lpstr>Diapositive think-cell</vt:lpstr>
      <vt:lpstr>Worksheet</vt:lpstr>
      <vt:lpstr>Feuille de calcul Microsoft Excel</vt:lpstr>
      <vt:lpstr>DASHBOARD MARCHE AERONAUTIQUE</vt:lpstr>
      <vt:lpstr>Faits Marquants</vt:lpstr>
      <vt:lpstr>Dashboard Trafic Aérien Août 2021</vt:lpstr>
      <vt:lpstr>Dashboard Airbus/Boeing Août 2021</vt:lpstr>
      <vt:lpstr>Prévisions des cadences de production</vt:lpstr>
      <vt:lpstr>Tableau 1 : Cadence moyenne mensuelle FAL </vt:lpstr>
      <vt:lpstr>Tableau 2 : Nb d’avions livrés par mois</vt:lpstr>
      <vt:lpstr>Tableau 3 : Nb d’avions commandés (et annulés) par mois</vt:lpstr>
      <vt:lpstr>Tableau 4 : Evolution du carnet de commandes Airbus/Boeing </vt:lpstr>
      <vt:lpstr>Tableau 5 : Nb d’avions produits non-livré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ROVENCHERE Sandrine</dc:creator>
  <cp:lastModifiedBy>PROVENCHERE Sandrine</cp:lastModifiedBy>
  <cp:revision>118</cp:revision>
  <dcterms:created xsi:type="dcterms:W3CDTF">2020-09-09T09:18:45Z</dcterms:created>
  <dcterms:modified xsi:type="dcterms:W3CDTF">2021-09-24T09:5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A1912B6E11934E8B096E7A522338B1</vt:lpwstr>
  </property>
</Properties>
</file>